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8" r:id="rId4"/>
    <p:sldMasterId id="2147483686" r:id="rId5"/>
    <p:sldMasterId id="2147483705" r:id="rId6"/>
    <p:sldMasterId id="2147483715" r:id="rId7"/>
    <p:sldMasterId id="2147483720" r:id="rId8"/>
    <p:sldMasterId id="2147483725" r:id="rId9"/>
    <p:sldMasterId id="2147483728" r:id="rId10"/>
    <p:sldMasterId id="2147483734" r:id="rId11"/>
    <p:sldMasterId id="2147483741" r:id="rId12"/>
  </p:sldMasterIdLst>
  <p:notesMasterIdLst>
    <p:notesMasterId r:id="rId25"/>
  </p:notesMasterIdLst>
  <p:handoutMasterIdLst>
    <p:handoutMasterId r:id="rId26"/>
  </p:handoutMasterIdLst>
  <p:sldIdLst>
    <p:sldId id="258" r:id="rId13"/>
    <p:sldId id="2147377558" r:id="rId14"/>
    <p:sldId id="2147377567" r:id="rId15"/>
    <p:sldId id="2147377566" r:id="rId16"/>
    <p:sldId id="2147377570" r:id="rId17"/>
    <p:sldId id="2147377568" r:id="rId18"/>
    <p:sldId id="2147377564" r:id="rId19"/>
    <p:sldId id="2147377571" r:id="rId20"/>
    <p:sldId id="2147377555" r:id="rId21"/>
    <p:sldId id="2147377557" r:id="rId22"/>
    <p:sldId id="2147377569" r:id="rId23"/>
    <p:sldId id="2126986485" r:id="rId24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AEE04E-B4AB-9833-2C4A-F716C8D65E42}" name="Alageel, Sara" initials="SA" userId="S::ageelsn@KAPSARC.ORG::0a13971d-4855-453d-bb2a-7f2769671d22" providerId="AD"/>
  <p188:author id="{AFC60950-C3DA-11D5-A1AF-19ECBDBA1F70}" name="Aldowais, Aljawharah" initials="AA" userId="S::dowaisaa@KAPSARC.ORG::fee38828-5188-47e3-a4bb-deded5edb184" providerId="AD"/>
  <p188:author id="{EE20BA58-866A-03B1-03D9-87EB1D16BC6C}" name="Alshiddi, Abdulaziz" initials="AA" userId="S::shiddiaa@KAPSARC.ORG::451f9c99-68db-47e1-b124-cb5e4d9283c2" providerId="AD"/>
  <p188:author id="{39C0E67B-0B2F-06D3-90FC-E99927AFE47C}" name="Karanfil, Fatih" initials="KF" userId="S::karanff@KAPSARC.ORG::0cc277bf-29b4-42b7-8562-324ba398aeda" providerId="AD"/>
  <p188:author id="{3099F298-A293-92B2-D912-2A64A9B1E29E}" name="Nouf, Alazzam" initials="NA" userId="S::noufa@KAPSARC.ORG::a28f1c88-bfff-4879-921a-803b6633c8e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CC"/>
    <a:srgbClr val="F2F2F2"/>
    <a:srgbClr val="006296"/>
    <a:srgbClr val="8AC58F"/>
    <a:srgbClr val="A6BEB1"/>
    <a:srgbClr val="87C58F"/>
    <a:srgbClr val="E7F3E9"/>
    <a:srgbClr val="5D9E54"/>
    <a:srgbClr val="008B96"/>
    <a:srgbClr val="A9C7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225BEB-A289-42A6-87E8-137E9FB4663D}" v="512" dt="2023-10-30T04:45:05.19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84" autoAdjust="0"/>
    <p:restoredTop sz="96005" autoAdjust="0"/>
  </p:normalViewPr>
  <p:slideViewPr>
    <p:cSldViewPr snapToGrid="0">
      <p:cViewPr varScale="1">
        <p:scale>
          <a:sx n="152" d="100"/>
          <a:sy n="152" d="100"/>
        </p:scale>
        <p:origin x="3702" y="144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anfil, Fatih" userId="0cc277bf-29b4-42b7-8562-324ba398aeda" providerId="ADAL" clId="{6A225BEB-A289-42A6-87E8-137E9FB4663D}"/>
    <pc:docChg chg="undo custSel modSld sldOrd">
      <pc:chgData name="Karanfil, Fatih" userId="0cc277bf-29b4-42b7-8562-324ba398aeda" providerId="ADAL" clId="{6A225BEB-A289-42A6-87E8-137E9FB4663D}" dt="2023-10-30T04:45:05.193" v="1011" actId="20577"/>
      <pc:docMkLst>
        <pc:docMk/>
      </pc:docMkLst>
      <pc:sldChg chg="modSp mod">
        <pc:chgData name="Karanfil, Fatih" userId="0cc277bf-29b4-42b7-8562-324ba398aeda" providerId="ADAL" clId="{6A225BEB-A289-42A6-87E8-137E9FB4663D}" dt="2023-10-30T04:45:05.193" v="1011" actId="20577"/>
        <pc:sldMkLst>
          <pc:docMk/>
          <pc:sldMk cId="1279543125" sldId="2147377555"/>
        </pc:sldMkLst>
        <pc:spChg chg="mod">
          <ac:chgData name="Karanfil, Fatih" userId="0cc277bf-29b4-42b7-8562-324ba398aeda" providerId="ADAL" clId="{6A225BEB-A289-42A6-87E8-137E9FB4663D}" dt="2023-10-30T04:45:05.193" v="1011" actId="20577"/>
          <ac:spMkLst>
            <pc:docMk/>
            <pc:sldMk cId="1279543125" sldId="2147377555"/>
            <ac:spMk id="4" creationId="{A10E1C9A-FA6E-004B-6008-BD3E10B8F605}"/>
          </ac:spMkLst>
        </pc:spChg>
      </pc:sldChg>
      <pc:sldChg chg="modSp mod">
        <pc:chgData name="Karanfil, Fatih" userId="0cc277bf-29b4-42b7-8562-324ba398aeda" providerId="ADAL" clId="{6A225BEB-A289-42A6-87E8-137E9FB4663D}" dt="2023-10-29T14:11:00.117" v="702" actId="1035"/>
        <pc:sldMkLst>
          <pc:docMk/>
          <pc:sldMk cId="3068753024" sldId="2147377557"/>
        </pc:sldMkLst>
        <pc:spChg chg="mod">
          <ac:chgData name="Karanfil, Fatih" userId="0cc277bf-29b4-42b7-8562-324ba398aeda" providerId="ADAL" clId="{6A225BEB-A289-42A6-87E8-137E9FB4663D}" dt="2023-10-29T14:11:00.117" v="702" actId="1035"/>
          <ac:spMkLst>
            <pc:docMk/>
            <pc:sldMk cId="3068753024" sldId="2147377557"/>
            <ac:spMk id="2" creationId="{3730C01E-E040-333D-A388-A31912672CE6}"/>
          </ac:spMkLst>
        </pc:spChg>
        <pc:spChg chg="mod">
          <ac:chgData name="Karanfil, Fatih" userId="0cc277bf-29b4-42b7-8562-324ba398aeda" providerId="ADAL" clId="{6A225BEB-A289-42A6-87E8-137E9FB4663D}" dt="2023-10-29T14:10:00.488" v="610" actId="14100"/>
          <ac:spMkLst>
            <pc:docMk/>
            <pc:sldMk cId="3068753024" sldId="2147377557"/>
            <ac:spMk id="5" creationId="{316B8079-4A76-825B-BA7C-2BAA58813591}"/>
          </ac:spMkLst>
        </pc:spChg>
        <pc:picChg chg="mod">
          <ac:chgData name="Karanfil, Fatih" userId="0cc277bf-29b4-42b7-8562-324ba398aeda" providerId="ADAL" clId="{6A225BEB-A289-42A6-87E8-137E9FB4663D}" dt="2023-10-29T14:10:34.269" v="674" actId="1037"/>
          <ac:picMkLst>
            <pc:docMk/>
            <pc:sldMk cId="3068753024" sldId="2147377557"/>
            <ac:picMk id="3" creationId="{EF37FA3E-0FA5-35D6-C415-8A2F26C131FA}"/>
          </ac:picMkLst>
        </pc:picChg>
        <pc:cxnChg chg="mod">
          <ac:chgData name="Karanfil, Fatih" userId="0cc277bf-29b4-42b7-8562-324ba398aeda" providerId="ADAL" clId="{6A225BEB-A289-42A6-87E8-137E9FB4663D}" dt="2023-10-29T14:10:17.131" v="630" actId="1035"/>
          <ac:cxnSpMkLst>
            <pc:docMk/>
            <pc:sldMk cId="3068753024" sldId="2147377557"/>
            <ac:cxnSpMk id="6" creationId="{C51FD9DA-198E-9CB2-345D-951617A3D39E}"/>
          </ac:cxnSpMkLst>
        </pc:cxnChg>
      </pc:sldChg>
      <pc:sldChg chg="modSp">
        <pc:chgData name="Karanfil, Fatih" userId="0cc277bf-29b4-42b7-8562-324ba398aeda" providerId="ADAL" clId="{6A225BEB-A289-42A6-87E8-137E9FB4663D}" dt="2023-10-29T14:14:31.207" v="731" actId="20577"/>
        <pc:sldMkLst>
          <pc:docMk/>
          <pc:sldMk cId="3554655523" sldId="2147377558"/>
        </pc:sldMkLst>
        <pc:spChg chg="mod">
          <ac:chgData name="Karanfil, Fatih" userId="0cc277bf-29b4-42b7-8562-324ba398aeda" providerId="ADAL" clId="{6A225BEB-A289-42A6-87E8-137E9FB4663D}" dt="2023-10-29T14:14:31.207" v="731" actId="20577"/>
          <ac:spMkLst>
            <pc:docMk/>
            <pc:sldMk cId="3554655523" sldId="2147377558"/>
            <ac:spMk id="22" creationId="{9EDEA1CD-3155-083E-8F3F-D7866D28DAD6}"/>
          </ac:spMkLst>
        </pc:spChg>
      </pc:sldChg>
      <pc:sldChg chg="modSp mod modAnim">
        <pc:chgData name="Karanfil, Fatih" userId="0cc277bf-29b4-42b7-8562-324ba398aeda" providerId="ADAL" clId="{6A225BEB-A289-42A6-87E8-137E9FB4663D}" dt="2023-10-29T14:17:09.197" v="732"/>
        <pc:sldMkLst>
          <pc:docMk/>
          <pc:sldMk cId="1034099524" sldId="2147377564"/>
        </pc:sldMkLst>
        <pc:spChg chg="mod">
          <ac:chgData name="Karanfil, Fatih" userId="0cc277bf-29b4-42b7-8562-324ba398aeda" providerId="ADAL" clId="{6A225BEB-A289-42A6-87E8-137E9FB4663D}" dt="2023-10-29T14:04:42.141" v="447" actId="1076"/>
          <ac:spMkLst>
            <pc:docMk/>
            <pc:sldMk cId="1034099524" sldId="2147377564"/>
            <ac:spMk id="4" creationId="{85B73DE7-7D97-52DA-560D-0DDE19BB7EBC}"/>
          </ac:spMkLst>
        </pc:spChg>
        <pc:spChg chg="mod">
          <ac:chgData name="Karanfil, Fatih" userId="0cc277bf-29b4-42b7-8562-324ba398aeda" providerId="ADAL" clId="{6A225BEB-A289-42A6-87E8-137E9FB4663D}" dt="2023-10-29T14:05:10.176" v="451" actId="14100"/>
          <ac:spMkLst>
            <pc:docMk/>
            <pc:sldMk cId="1034099524" sldId="2147377564"/>
            <ac:spMk id="7" creationId="{C71DA0E0-7083-DA10-CDF3-51046BE47851}"/>
          </ac:spMkLst>
        </pc:spChg>
        <pc:picChg chg="mod">
          <ac:chgData name="Karanfil, Fatih" userId="0cc277bf-29b4-42b7-8562-324ba398aeda" providerId="ADAL" clId="{6A225BEB-A289-42A6-87E8-137E9FB4663D}" dt="2023-10-29T14:05:19.630" v="485" actId="1037"/>
          <ac:picMkLst>
            <pc:docMk/>
            <pc:sldMk cId="1034099524" sldId="2147377564"/>
            <ac:picMk id="2" creationId="{AEE70977-5991-F9A4-8400-3B020406FF46}"/>
          </ac:picMkLst>
        </pc:picChg>
        <pc:picChg chg="mod">
          <ac:chgData name="Karanfil, Fatih" userId="0cc277bf-29b4-42b7-8562-324ba398aeda" providerId="ADAL" clId="{6A225BEB-A289-42A6-87E8-137E9FB4663D}" dt="2023-10-29T14:04:42.141" v="447" actId="1076"/>
          <ac:picMkLst>
            <pc:docMk/>
            <pc:sldMk cId="1034099524" sldId="2147377564"/>
            <ac:picMk id="3" creationId="{E18D41A7-5641-9557-108F-8F3505EB4F36}"/>
          </ac:picMkLst>
        </pc:picChg>
        <pc:cxnChg chg="mod">
          <ac:chgData name="Karanfil, Fatih" userId="0cc277bf-29b4-42b7-8562-324ba398aeda" providerId="ADAL" clId="{6A225BEB-A289-42A6-87E8-137E9FB4663D}" dt="2023-10-29T14:06:27.698" v="499" actId="1038"/>
          <ac:cxnSpMkLst>
            <pc:docMk/>
            <pc:sldMk cId="1034099524" sldId="2147377564"/>
            <ac:cxnSpMk id="9" creationId="{EAE00A50-757E-CCDC-E53B-53774781347B}"/>
          </ac:cxnSpMkLst>
        </pc:cxnChg>
      </pc:sldChg>
      <pc:sldChg chg="modSp mod modAnim">
        <pc:chgData name="Karanfil, Fatih" userId="0cc277bf-29b4-42b7-8562-324ba398aeda" providerId="ADAL" clId="{6A225BEB-A289-42A6-87E8-137E9FB4663D}" dt="2023-10-29T14:33:48.126" v="993" actId="6549"/>
        <pc:sldMkLst>
          <pc:docMk/>
          <pc:sldMk cId="1550914750" sldId="2147377566"/>
        </pc:sldMkLst>
        <pc:spChg chg="mod">
          <ac:chgData name="Karanfil, Fatih" userId="0cc277bf-29b4-42b7-8562-324ba398aeda" providerId="ADAL" clId="{6A225BEB-A289-42A6-87E8-137E9FB4663D}" dt="2023-10-29T14:21:07.885" v="793" actId="1035"/>
          <ac:spMkLst>
            <pc:docMk/>
            <pc:sldMk cId="1550914750" sldId="2147377566"/>
            <ac:spMk id="2" creationId="{A5CD14D3-350E-9759-ED70-772B28E932EA}"/>
          </ac:spMkLst>
        </pc:spChg>
        <pc:spChg chg="mod">
          <ac:chgData name="Karanfil, Fatih" userId="0cc277bf-29b4-42b7-8562-324ba398aeda" providerId="ADAL" clId="{6A225BEB-A289-42A6-87E8-137E9FB4663D}" dt="2023-10-29T14:21:07.885" v="793" actId="1035"/>
          <ac:spMkLst>
            <pc:docMk/>
            <pc:sldMk cId="1550914750" sldId="2147377566"/>
            <ac:spMk id="4" creationId="{1D7C4944-EA12-02DA-8160-E63FAF81170E}"/>
          </ac:spMkLst>
        </pc:spChg>
        <pc:spChg chg="mod">
          <ac:chgData name="Karanfil, Fatih" userId="0cc277bf-29b4-42b7-8562-324ba398aeda" providerId="ADAL" clId="{6A225BEB-A289-42A6-87E8-137E9FB4663D}" dt="2023-10-29T14:21:07.885" v="793" actId="1035"/>
          <ac:spMkLst>
            <pc:docMk/>
            <pc:sldMk cId="1550914750" sldId="2147377566"/>
            <ac:spMk id="8" creationId="{EE122764-B4D3-642A-9886-AB50FAFDA189}"/>
          </ac:spMkLst>
        </pc:spChg>
        <pc:spChg chg="mod">
          <ac:chgData name="Karanfil, Fatih" userId="0cc277bf-29b4-42b7-8562-324ba398aeda" providerId="ADAL" clId="{6A225BEB-A289-42A6-87E8-137E9FB4663D}" dt="2023-10-29T14:21:07.885" v="793" actId="1035"/>
          <ac:spMkLst>
            <pc:docMk/>
            <pc:sldMk cId="1550914750" sldId="2147377566"/>
            <ac:spMk id="11" creationId="{E25B94B0-1DAD-EC75-E80F-D42D38626258}"/>
          </ac:spMkLst>
        </pc:spChg>
        <pc:spChg chg="mod">
          <ac:chgData name="Karanfil, Fatih" userId="0cc277bf-29b4-42b7-8562-324ba398aeda" providerId="ADAL" clId="{6A225BEB-A289-42A6-87E8-137E9FB4663D}" dt="2023-10-29T14:33:48.126" v="993" actId="6549"/>
          <ac:spMkLst>
            <pc:docMk/>
            <pc:sldMk cId="1550914750" sldId="2147377566"/>
            <ac:spMk id="13" creationId="{55068CF5-16B8-F93C-0983-EE1AA6419181}"/>
          </ac:spMkLst>
        </pc:spChg>
      </pc:sldChg>
      <pc:sldChg chg="modSp">
        <pc:chgData name="Karanfil, Fatih" userId="0cc277bf-29b4-42b7-8562-324ba398aeda" providerId="ADAL" clId="{6A225BEB-A289-42A6-87E8-137E9FB4663D}" dt="2023-10-29T13:54:27.721" v="91" actId="20577"/>
        <pc:sldMkLst>
          <pc:docMk/>
          <pc:sldMk cId="3847213699" sldId="2147377567"/>
        </pc:sldMkLst>
        <pc:spChg chg="mod">
          <ac:chgData name="Karanfil, Fatih" userId="0cc277bf-29b4-42b7-8562-324ba398aeda" providerId="ADAL" clId="{6A225BEB-A289-42A6-87E8-137E9FB4663D}" dt="2023-10-29T13:54:27.721" v="91" actId="20577"/>
          <ac:spMkLst>
            <pc:docMk/>
            <pc:sldMk cId="3847213699" sldId="2147377567"/>
            <ac:spMk id="13" creationId="{B2FBD021-14EE-590D-C33F-3A246ECD1468}"/>
          </ac:spMkLst>
        </pc:spChg>
      </pc:sldChg>
      <pc:sldChg chg="addSp delSp modSp mod delAnim modAnim">
        <pc:chgData name="Karanfil, Fatih" userId="0cc277bf-29b4-42b7-8562-324ba398aeda" providerId="ADAL" clId="{6A225BEB-A289-42A6-87E8-137E9FB4663D}" dt="2023-10-29T14:03:00.728" v="290" actId="20577"/>
        <pc:sldMkLst>
          <pc:docMk/>
          <pc:sldMk cId="4255672765" sldId="2147377568"/>
        </pc:sldMkLst>
        <pc:spChg chg="add mod">
          <ac:chgData name="Karanfil, Fatih" userId="0cc277bf-29b4-42b7-8562-324ba398aeda" providerId="ADAL" clId="{6A225BEB-A289-42A6-87E8-137E9FB4663D}" dt="2023-10-29T14:03:00.728" v="290" actId="20577"/>
          <ac:spMkLst>
            <pc:docMk/>
            <pc:sldMk cId="4255672765" sldId="2147377568"/>
            <ac:spMk id="2" creationId="{BE154F1E-4F1F-8DB7-4B5C-2025C401D992}"/>
          </ac:spMkLst>
        </pc:spChg>
        <pc:spChg chg="add mod">
          <ac:chgData name="Karanfil, Fatih" userId="0cc277bf-29b4-42b7-8562-324ba398aeda" providerId="ADAL" clId="{6A225BEB-A289-42A6-87E8-137E9FB4663D}" dt="2023-10-29T14:00:43.411" v="240" actId="20577"/>
          <ac:spMkLst>
            <pc:docMk/>
            <pc:sldMk cId="4255672765" sldId="2147377568"/>
            <ac:spMk id="3" creationId="{79E37B64-6F0A-F45A-4C6C-559B93B4F2C6}"/>
          </ac:spMkLst>
        </pc:spChg>
        <pc:spChg chg="add mod">
          <ac:chgData name="Karanfil, Fatih" userId="0cc277bf-29b4-42b7-8562-324ba398aeda" providerId="ADAL" clId="{6A225BEB-A289-42A6-87E8-137E9FB4663D}" dt="2023-10-29T12:03:44.985" v="60"/>
          <ac:spMkLst>
            <pc:docMk/>
            <pc:sldMk cId="4255672765" sldId="2147377568"/>
            <ac:spMk id="4" creationId="{EAD30AC1-D295-1B3A-2251-AE69BECA01E9}"/>
          </ac:spMkLst>
        </pc:spChg>
        <pc:spChg chg="topLvl">
          <ac:chgData name="Karanfil, Fatih" userId="0cc277bf-29b4-42b7-8562-324ba398aeda" providerId="ADAL" clId="{6A225BEB-A289-42A6-87E8-137E9FB4663D}" dt="2023-10-29T12:03:42.739" v="59" actId="21"/>
          <ac:spMkLst>
            <pc:docMk/>
            <pc:sldMk cId="4255672765" sldId="2147377568"/>
            <ac:spMk id="26" creationId="{15FF5FAB-7D7E-BFBA-15FB-C5CE9C7ADB4B}"/>
          </ac:spMkLst>
        </pc:spChg>
        <pc:spChg chg="del">
          <ac:chgData name="Karanfil, Fatih" userId="0cc277bf-29b4-42b7-8562-324ba398aeda" providerId="ADAL" clId="{6A225BEB-A289-42A6-87E8-137E9FB4663D}" dt="2023-10-29T12:02:58.412" v="55" actId="21"/>
          <ac:spMkLst>
            <pc:docMk/>
            <pc:sldMk cId="4255672765" sldId="2147377568"/>
            <ac:spMk id="27" creationId="{73D25619-D48B-D6BD-6FFC-7429AD523EB4}"/>
          </ac:spMkLst>
        </pc:spChg>
        <pc:spChg chg="del">
          <ac:chgData name="Karanfil, Fatih" userId="0cc277bf-29b4-42b7-8562-324ba398aeda" providerId="ADAL" clId="{6A225BEB-A289-42A6-87E8-137E9FB4663D}" dt="2023-10-29T12:03:33.158" v="57" actId="21"/>
          <ac:spMkLst>
            <pc:docMk/>
            <pc:sldMk cId="4255672765" sldId="2147377568"/>
            <ac:spMk id="28" creationId="{3CDBA1F1-EA26-4AA0-9324-7C2A542F8C3A}"/>
          </ac:spMkLst>
        </pc:spChg>
        <pc:spChg chg="del topLvl">
          <ac:chgData name="Karanfil, Fatih" userId="0cc277bf-29b4-42b7-8562-324ba398aeda" providerId="ADAL" clId="{6A225BEB-A289-42A6-87E8-137E9FB4663D}" dt="2023-10-29T12:03:42.739" v="59" actId="21"/>
          <ac:spMkLst>
            <pc:docMk/>
            <pc:sldMk cId="4255672765" sldId="2147377568"/>
            <ac:spMk id="31" creationId="{88EFC6C4-0DE8-6AAB-A570-CA2C730AB0B3}"/>
          </ac:spMkLst>
        </pc:spChg>
        <pc:grpChg chg="del">
          <ac:chgData name="Karanfil, Fatih" userId="0cc277bf-29b4-42b7-8562-324ba398aeda" providerId="ADAL" clId="{6A225BEB-A289-42A6-87E8-137E9FB4663D}" dt="2023-10-29T12:03:42.739" v="59" actId="21"/>
          <ac:grpSpMkLst>
            <pc:docMk/>
            <pc:sldMk cId="4255672765" sldId="2147377568"/>
            <ac:grpSpMk id="25" creationId="{A75D700D-B881-D1E8-F388-14F9E749B0B4}"/>
          </ac:grpSpMkLst>
        </pc:grpChg>
        <pc:graphicFrameChg chg="mod">
          <ac:chgData name="Karanfil, Fatih" userId="0cc277bf-29b4-42b7-8562-324ba398aeda" providerId="ADAL" clId="{6A225BEB-A289-42A6-87E8-137E9FB4663D}" dt="2023-10-29T14:01:32.539" v="258" actId="20577"/>
          <ac:graphicFrameMkLst>
            <pc:docMk/>
            <pc:sldMk cId="4255672765" sldId="2147377568"/>
            <ac:graphicFrameMk id="34" creationId="{F2E07350-9F10-6FE7-40CE-5272B51AE5EE}"/>
          </ac:graphicFrameMkLst>
        </pc:graphicFrameChg>
      </pc:sldChg>
      <pc:sldChg chg="ord">
        <pc:chgData name="Karanfil, Fatih" userId="0cc277bf-29b4-42b7-8562-324ba398aeda" providerId="ADAL" clId="{6A225BEB-A289-42A6-87E8-137E9FB4663D}" dt="2023-10-29T13:54:17.123" v="80"/>
        <pc:sldMkLst>
          <pc:docMk/>
          <pc:sldMk cId="395862399" sldId="2147377569"/>
        </pc:sldMkLst>
      </pc:sldChg>
      <pc:sldChg chg="addSp modSp mod modAnim">
        <pc:chgData name="Karanfil, Fatih" userId="0cc277bf-29b4-42b7-8562-324ba398aeda" providerId="ADAL" clId="{6A225BEB-A289-42A6-87E8-137E9FB4663D}" dt="2023-10-29T14:34:28.168" v="1006"/>
        <pc:sldMkLst>
          <pc:docMk/>
          <pc:sldMk cId="1723644273" sldId="2147377570"/>
        </pc:sldMkLst>
        <pc:spChg chg="mod">
          <ac:chgData name="Karanfil, Fatih" userId="0cc277bf-29b4-42b7-8562-324ba398aeda" providerId="ADAL" clId="{6A225BEB-A289-42A6-87E8-137E9FB4663D}" dt="2023-10-29T14:32:01.961" v="984" actId="1035"/>
          <ac:spMkLst>
            <pc:docMk/>
            <pc:sldMk cId="1723644273" sldId="2147377570"/>
            <ac:spMk id="2" creationId="{85E41557-459B-40F6-3DB8-1C0748548667}"/>
          </ac:spMkLst>
        </pc:spChg>
        <pc:spChg chg="add mod">
          <ac:chgData name="Karanfil, Fatih" userId="0cc277bf-29b4-42b7-8562-324ba398aeda" providerId="ADAL" clId="{6A225BEB-A289-42A6-87E8-137E9FB4663D}" dt="2023-10-29T14:32:49.047" v="992" actId="14100"/>
          <ac:spMkLst>
            <pc:docMk/>
            <pc:sldMk cId="1723644273" sldId="2147377570"/>
            <ac:spMk id="3" creationId="{3609E5FD-5A28-9639-6846-26AE71A1C0AA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19" creationId="{4F581ABB-C820-E583-CB89-2042AFAC3896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20" creationId="{3BC134D4-9B2F-CAF6-012C-842E4C1F85F7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21" creationId="{CFCA30BF-C116-54E3-1D2F-C820E800C5FF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23" creationId="{027B38A1-D41A-C52F-5C2A-9FC199FFFE58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28" creationId="{53E29FEC-976E-F305-F2C9-6E96C304F8F5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30" creationId="{349655D9-707D-C7CB-2C3B-C0B7D4FDCABC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31" creationId="{FA951B0C-6E7D-2D71-AA80-84E601B0B372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32" creationId="{2EB2390D-975B-9D08-9DCC-BF72CE9B02A4}"/>
          </ac:spMkLst>
        </pc:spChg>
        <pc:spChg chg="mod">
          <ac:chgData name="Karanfil, Fatih" userId="0cc277bf-29b4-42b7-8562-324ba398aeda" providerId="ADAL" clId="{6A225BEB-A289-42A6-87E8-137E9FB4663D}" dt="2023-10-29T13:59:08.961" v="152" actId="20577"/>
          <ac:spMkLst>
            <pc:docMk/>
            <pc:sldMk cId="1723644273" sldId="2147377570"/>
            <ac:spMk id="35" creationId="{2B8BA6D8-9DF9-F30D-6CB0-1B2D89BD51E4}"/>
          </ac:spMkLst>
        </pc:spChg>
        <pc:spChg chg="mod">
          <ac:chgData name="Karanfil, Fatih" userId="0cc277bf-29b4-42b7-8562-324ba398aeda" providerId="ADAL" clId="{6A225BEB-A289-42A6-87E8-137E9FB4663D}" dt="2023-10-29T14:31:44.144" v="964" actId="1036"/>
          <ac:spMkLst>
            <pc:docMk/>
            <pc:sldMk cId="1723644273" sldId="2147377570"/>
            <ac:spMk id="39" creationId="{A7F7A1A6-67CD-8AEF-A20B-0AF436203FF3}"/>
          </ac:spMkLst>
        </pc:spChg>
        <pc:grpChg chg="mod">
          <ac:chgData name="Karanfil, Fatih" userId="0cc277bf-29b4-42b7-8562-324ba398aeda" providerId="ADAL" clId="{6A225BEB-A289-42A6-87E8-137E9FB4663D}" dt="2023-10-29T14:31:44.144" v="964" actId="1036"/>
          <ac:grpSpMkLst>
            <pc:docMk/>
            <pc:sldMk cId="1723644273" sldId="2147377570"/>
            <ac:grpSpMk id="34" creationId="{95523318-60FB-A392-B785-589949CCB405}"/>
          </ac:grpSpMkLst>
        </pc:grpChg>
        <pc:picChg chg="mod">
          <ac:chgData name="Karanfil, Fatih" userId="0cc277bf-29b4-42b7-8562-324ba398aeda" providerId="ADAL" clId="{6A225BEB-A289-42A6-87E8-137E9FB4663D}" dt="2023-10-29T14:31:44.144" v="964" actId="1036"/>
          <ac:picMkLst>
            <pc:docMk/>
            <pc:sldMk cId="1723644273" sldId="2147377570"/>
            <ac:picMk id="42" creationId="{E57AE55F-ED31-DDEB-DED5-68355048B25A}"/>
          </ac:picMkLst>
        </pc:picChg>
        <pc:picChg chg="mod">
          <ac:chgData name="Karanfil, Fatih" userId="0cc277bf-29b4-42b7-8562-324ba398aeda" providerId="ADAL" clId="{6A225BEB-A289-42A6-87E8-137E9FB4663D}" dt="2023-10-29T14:31:44.144" v="964" actId="1036"/>
          <ac:picMkLst>
            <pc:docMk/>
            <pc:sldMk cId="1723644273" sldId="2147377570"/>
            <ac:picMk id="44" creationId="{0F368C2A-B1BC-7777-84E9-1C515FC145F5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969E95-8A41-45A7-A46C-53BE883D9AD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0D661F-D017-498C-9E49-C0B8D61B41D2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ich effect holds greater significance?</a:t>
          </a:r>
          <a:endParaRPr lang="en-US" sz="1800" dirty="0"/>
        </a:p>
      </dgm:t>
    </dgm:pt>
    <dgm:pt modelId="{27B3C793-6C4F-4B4F-B4FC-AF02C471DDE6}" type="parTrans" cxnId="{B3847210-7859-46C6-8FE8-0D74A8C4AC12}">
      <dgm:prSet/>
      <dgm:spPr/>
      <dgm:t>
        <a:bodyPr/>
        <a:lstStyle/>
        <a:p>
          <a:endParaRPr lang="en-US" sz="2800"/>
        </a:p>
      </dgm:t>
    </dgm:pt>
    <dgm:pt modelId="{A39728E8-F62B-4E1E-B14F-7959708F5E90}" type="sibTrans" cxnId="{B3847210-7859-46C6-8FE8-0D74A8C4AC12}">
      <dgm:prSet/>
      <dgm:spPr/>
      <dgm:t>
        <a:bodyPr/>
        <a:lstStyle/>
        <a:p>
          <a:endParaRPr lang="en-US" sz="2800"/>
        </a:p>
      </dgm:t>
    </dgm:pt>
    <dgm:pt modelId="{D36451D2-2D1B-46CD-A01E-B8A2A2B32EFA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at is the magnitude of the oil price risk premium? </a:t>
          </a:r>
          <a:endParaRPr lang="en-US" sz="1800" dirty="0"/>
        </a:p>
      </dgm:t>
    </dgm:pt>
    <dgm:pt modelId="{1706E7AC-2042-405B-8C91-A945519B225B}" type="parTrans" cxnId="{781901FD-CBA6-4D83-9621-466D5F98810D}">
      <dgm:prSet/>
      <dgm:spPr/>
      <dgm:t>
        <a:bodyPr/>
        <a:lstStyle/>
        <a:p>
          <a:endParaRPr lang="en-US" sz="2800"/>
        </a:p>
      </dgm:t>
    </dgm:pt>
    <dgm:pt modelId="{027F39ED-0875-4451-B597-EB7C63D58512}" type="sibTrans" cxnId="{781901FD-CBA6-4D83-9621-466D5F98810D}">
      <dgm:prSet/>
      <dgm:spPr/>
      <dgm:t>
        <a:bodyPr/>
        <a:lstStyle/>
        <a:p>
          <a:endParaRPr lang="en-US" sz="2800"/>
        </a:p>
      </dgm:t>
    </dgm:pt>
    <dgm:pt modelId="{BAEE44D3-426C-4237-9977-86FFD56DB628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Do the effects vary significantly? </a:t>
          </a:r>
          <a:endParaRPr lang="en-US" sz="1800" dirty="0"/>
        </a:p>
      </dgm:t>
    </dgm:pt>
    <dgm:pt modelId="{DB9C510C-E565-481C-8028-0FC3026E6953}" type="parTrans" cxnId="{226836A2-7636-457B-8D3F-9AA89D5AACD1}">
      <dgm:prSet/>
      <dgm:spPr/>
      <dgm:t>
        <a:bodyPr/>
        <a:lstStyle/>
        <a:p>
          <a:endParaRPr lang="en-US" sz="2800"/>
        </a:p>
      </dgm:t>
    </dgm:pt>
    <dgm:pt modelId="{21C87090-2752-4C9C-88C6-868139A65B8D}" type="sibTrans" cxnId="{226836A2-7636-457B-8D3F-9AA89D5AACD1}">
      <dgm:prSet/>
      <dgm:spPr/>
      <dgm:t>
        <a:bodyPr/>
        <a:lstStyle/>
        <a:p>
          <a:endParaRPr lang="en-US" sz="2800"/>
        </a:p>
      </dgm:t>
    </dgm:pt>
    <dgm:pt modelId="{93FFF5C0-3C20-4A31-9B88-2227725FE9C7}" type="pres">
      <dgm:prSet presAssocID="{F7969E95-8A41-45A7-A46C-53BE883D9AD9}" presName="linear" presStyleCnt="0">
        <dgm:presLayoutVars>
          <dgm:dir/>
          <dgm:animLvl val="lvl"/>
          <dgm:resizeHandles val="exact"/>
        </dgm:presLayoutVars>
      </dgm:prSet>
      <dgm:spPr/>
    </dgm:pt>
    <dgm:pt modelId="{85B81628-B2C6-435D-BAFF-16631CE3E333}" type="pres">
      <dgm:prSet presAssocID="{600D661F-D017-498C-9E49-C0B8D61B41D2}" presName="parentLin" presStyleCnt="0"/>
      <dgm:spPr/>
    </dgm:pt>
    <dgm:pt modelId="{328A37B6-B058-4C71-AAB4-D3DFA02D4927}" type="pres">
      <dgm:prSet presAssocID="{600D661F-D017-498C-9E49-C0B8D61B41D2}" presName="parentLeftMargin" presStyleLbl="node1" presStyleIdx="0" presStyleCnt="3"/>
      <dgm:spPr/>
    </dgm:pt>
    <dgm:pt modelId="{7D9DA708-BD77-4906-902E-765B455CB3BE}" type="pres">
      <dgm:prSet presAssocID="{600D661F-D017-498C-9E49-C0B8D61B41D2}" presName="parentText" presStyleLbl="node1" presStyleIdx="0" presStyleCnt="3" custScaleX="133886">
        <dgm:presLayoutVars>
          <dgm:chMax val="0"/>
          <dgm:bulletEnabled val="1"/>
        </dgm:presLayoutVars>
      </dgm:prSet>
      <dgm:spPr/>
    </dgm:pt>
    <dgm:pt modelId="{F83F7FAB-86AC-4FA7-BE30-0D0455578FE0}" type="pres">
      <dgm:prSet presAssocID="{600D661F-D017-498C-9E49-C0B8D61B41D2}" presName="negativeSpace" presStyleCnt="0"/>
      <dgm:spPr/>
    </dgm:pt>
    <dgm:pt modelId="{27C55B06-4A97-48E2-892F-300AD118505E}" type="pres">
      <dgm:prSet presAssocID="{600D661F-D017-498C-9E49-C0B8D61B41D2}" presName="childText" presStyleLbl="conFgAcc1" presStyleIdx="0" presStyleCnt="3">
        <dgm:presLayoutVars>
          <dgm:bulletEnabled val="1"/>
        </dgm:presLayoutVars>
      </dgm:prSet>
      <dgm:spPr/>
    </dgm:pt>
    <dgm:pt modelId="{50C20F48-566D-495D-B0DD-4FED6318CB40}" type="pres">
      <dgm:prSet presAssocID="{A39728E8-F62B-4E1E-B14F-7959708F5E90}" presName="spaceBetweenRectangles" presStyleCnt="0"/>
      <dgm:spPr/>
    </dgm:pt>
    <dgm:pt modelId="{8EF144CD-BACA-4C5D-8FBB-F29D9462D4A5}" type="pres">
      <dgm:prSet presAssocID="{D36451D2-2D1B-46CD-A01E-B8A2A2B32EFA}" presName="parentLin" presStyleCnt="0"/>
      <dgm:spPr/>
    </dgm:pt>
    <dgm:pt modelId="{9EF4EC8B-AA57-4820-BDC1-6AE51ECAF6AD}" type="pres">
      <dgm:prSet presAssocID="{D36451D2-2D1B-46CD-A01E-B8A2A2B32EFA}" presName="parentLeftMargin" presStyleLbl="node1" presStyleIdx="0" presStyleCnt="3"/>
      <dgm:spPr/>
    </dgm:pt>
    <dgm:pt modelId="{708A4EE3-91D8-4EF3-96AF-1F03768FC20A}" type="pres">
      <dgm:prSet presAssocID="{D36451D2-2D1B-46CD-A01E-B8A2A2B32EFA}" presName="parentText" presStyleLbl="node1" presStyleIdx="1" presStyleCnt="3" custScaleX="134064">
        <dgm:presLayoutVars>
          <dgm:chMax val="0"/>
          <dgm:bulletEnabled val="1"/>
        </dgm:presLayoutVars>
      </dgm:prSet>
      <dgm:spPr/>
    </dgm:pt>
    <dgm:pt modelId="{832D397B-925D-435F-95CA-5123D2F5B81A}" type="pres">
      <dgm:prSet presAssocID="{D36451D2-2D1B-46CD-A01E-B8A2A2B32EFA}" presName="negativeSpace" presStyleCnt="0"/>
      <dgm:spPr/>
    </dgm:pt>
    <dgm:pt modelId="{7BB31117-F62B-4829-951A-144D9D1D2919}" type="pres">
      <dgm:prSet presAssocID="{D36451D2-2D1B-46CD-A01E-B8A2A2B32EFA}" presName="childText" presStyleLbl="conFgAcc1" presStyleIdx="1" presStyleCnt="3">
        <dgm:presLayoutVars>
          <dgm:bulletEnabled val="1"/>
        </dgm:presLayoutVars>
      </dgm:prSet>
      <dgm:spPr/>
    </dgm:pt>
    <dgm:pt modelId="{B5515F38-F666-462D-980B-61E445E324CF}" type="pres">
      <dgm:prSet presAssocID="{027F39ED-0875-4451-B597-EB7C63D58512}" presName="spaceBetweenRectangles" presStyleCnt="0"/>
      <dgm:spPr/>
    </dgm:pt>
    <dgm:pt modelId="{8B2B5AA2-FD0C-46BA-861B-CE12A3EEFF0E}" type="pres">
      <dgm:prSet presAssocID="{BAEE44D3-426C-4237-9977-86FFD56DB628}" presName="parentLin" presStyleCnt="0"/>
      <dgm:spPr/>
    </dgm:pt>
    <dgm:pt modelId="{FBBDB46D-D080-48A5-9EFE-2B92B9199491}" type="pres">
      <dgm:prSet presAssocID="{BAEE44D3-426C-4237-9977-86FFD56DB628}" presName="parentLeftMargin" presStyleLbl="node1" presStyleIdx="1" presStyleCnt="3"/>
      <dgm:spPr/>
    </dgm:pt>
    <dgm:pt modelId="{55321774-AEAE-48C0-AD7A-5AF1CAD2A7E4}" type="pres">
      <dgm:prSet presAssocID="{BAEE44D3-426C-4237-9977-86FFD56DB628}" presName="parentText" presStyleLbl="node1" presStyleIdx="2" presStyleCnt="3" custScaleX="134155">
        <dgm:presLayoutVars>
          <dgm:chMax val="0"/>
          <dgm:bulletEnabled val="1"/>
        </dgm:presLayoutVars>
      </dgm:prSet>
      <dgm:spPr/>
    </dgm:pt>
    <dgm:pt modelId="{F14333D1-0D7B-448F-A7BF-137F4303615D}" type="pres">
      <dgm:prSet presAssocID="{BAEE44D3-426C-4237-9977-86FFD56DB628}" presName="negativeSpace" presStyleCnt="0"/>
      <dgm:spPr/>
    </dgm:pt>
    <dgm:pt modelId="{80DC8CE5-9436-4DDB-BE78-A6992A969238}" type="pres">
      <dgm:prSet presAssocID="{BAEE44D3-426C-4237-9977-86FFD56DB62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3847210-7859-46C6-8FE8-0D74A8C4AC12}" srcId="{F7969E95-8A41-45A7-A46C-53BE883D9AD9}" destId="{600D661F-D017-498C-9E49-C0B8D61B41D2}" srcOrd="0" destOrd="0" parTransId="{27B3C793-6C4F-4B4F-B4FC-AF02C471DDE6}" sibTransId="{A39728E8-F62B-4E1E-B14F-7959708F5E90}"/>
    <dgm:cxn modelId="{F3B62E15-1458-4C33-B7F7-3AF69EDC8731}" type="presOf" srcId="{BAEE44D3-426C-4237-9977-86FFD56DB628}" destId="{FBBDB46D-D080-48A5-9EFE-2B92B9199491}" srcOrd="0" destOrd="0" presId="urn:microsoft.com/office/officeart/2005/8/layout/list1"/>
    <dgm:cxn modelId="{25B31464-249B-4914-82B3-AE6E6556A79C}" type="presOf" srcId="{600D661F-D017-498C-9E49-C0B8D61B41D2}" destId="{7D9DA708-BD77-4906-902E-765B455CB3BE}" srcOrd="1" destOrd="0" presId="urn:microsoft.com/office/officeart/2005/8/layout/list1"/>
    <dgm:cxn modelId="{64DAC54E-086E-426E-93CC-D6B839937876}" type="presOf" srcId="{D36451D2-2D1B-46CD-A01E-B8A2A2B32EFA}" destId="{708A4EE3-91D8-4EF3-96AF-1F03768FC20A}" srcOrd="1" destOrd="0" presId="urn:microsoft.com/office/officeart/2005/8/layout/list1"/>
    <dgm:cxn modelId="{AAD0ED7C-243B-43D3-ABDD-1FC23AA62603}" type="presOf" srcId="{D36451D2-2D1B-46CD-A01E-B8A2A2B32EFA}" destId="{9EF4EC8B-AA57-4820-BDC1-6AE51ECAF6AD}" srcOrd="0" destOrd="0" presId="urn:microsoft.com/office/officeart/2005/8/layout/list1"/>
    <dgm:cxn modelId="{226836A2-7636-457B-8D3F-9AA89D5AACD1}" srcId="{F7969E95-8A41-45A7-A46C-53BE883D9AD9}" destId="{BAEE44D3-426C-4237-9977-86FFD56DB628}" srcOrd="2" destOrd="0" parTransId="{DB9C510C-E565-481C-8028-0FC3026E6953}" sibTransId="{21C87090-2752-4C9C-88C6-868139A65B8D}"/>
    <dgm:cxn modelId="{92DB9CB3-F080-4697-A705-BB35E6E29EAD}" type="presOf" srcId="{BAEE44D3-426C-4237-9977-86FFD56DB628}" destId="{55321774-AEAE-48C0-AD7A-5AF1CAD2A7E4}" srcOrd="1" destOrd="0" presId="urn:microsoft.com/office/officeart/2005/8/layout/list1"/>
    <dgm:cxn modelId="{32D043B4-3D4D-439C-88B8-347010CA48BC}" type="presOf" srcId="{600D661F-D017-498C-9E49-C0B8D61B41D2}" destId="{328A37B6-B058-4C71-AAB4-D3DFA02D4927}" srcOrd="0" destOrd="0" presId="urn:microsoft.com/office/officeart/2005/8/layout/list1"/>
    <dgm:cxn modelId="{CD5DA2F0-58FB-41A3-8046-26512F5F1CFE}" type="presOf" srcId="{F7969E95-8A41-45A7-A46C-53BE883D9AD9}" destId="{93FFF5C0-3C20-4A31-9B88-2227725FE9C7}" srcOrd="0" destOrd="0" presId="urn:microsoft.com/office/officeart/2005/8/layout/list1"/>
    <dgm:cxn modelId="{781901FD-CBA6-4D83-9621-466D5F98810D}" srcId="{F7969E95-8A41-45A7-A46C-53BE883D9AD9}" destId="{D36451D2-2D1B-46CD-A01E-B8A2A2B32EFA}" srcOrd="1" destOrd="0" parTransId="{1706E7AC-2042-405B-8C91-A945519B225B}" sibTransId="{027F39ED-0875-4451-B597-EB7C63D58512}"/>
    <dgm:cxn modelId="{0EA10556-0A9A-456A-8740-9815AE5B58DF}" type="presParOf" srcId="{93FFF5C0-3C20-4A31-9B88-2227725FE9C7}" destId="{85B81628-B2C6-435D-BAFF-16631CE3E333}" srcOrd="0" destOrd="0" presId="urn:microsoft.com/office/officeart/2005/8/layout/list1"/>
    <dgm:cxn modelId="{1DFA24FB-5FA7-4CD1-B412-81A0C877C960}" type="presParOf" srcId="{85B81628-B2C6-435D-BAFF-16631CE3E333}" destId="{328A37B6-B058-4C71-AAB4-D3DFA02D4927}" srcOrd="0" destOrd="0" presId="urn:microsoft.com/office/officeart/2005/8/layout/list1"/>
    <dgm:cxn modelId="{02690DFD-B248-4E54-B272-4A842E3AD46A}" type="presParOf" srcId="{85B81628-B2C6-435D-BAFF-16631CE3E333}" destId="{7D9DA708-BD77-4906-902E-765B455CB3BE}" srcOrd="1" destOrd="0" presId="urn:microsoft.com/office/officeart/2005/8/layout/list1"/>
    <dgm:cxn modelId="{040455D7-C297-4943-A295-861A286723D6}" type="presParOf" srcId="{93FFF5C0-3C20-4A31-9B88-2227725FE9C7}" destId="{F83F7FAB-86AC-4FA7-BE30-0D0455578FE0}" srcOrd="1" destOrd="0" presId="urn:microsoft.com/office/officeart/2005/8/layout/list1"/>
    <dgm:cxn modelId="{321C3057-A59C-4410-B24F-891449B937FB}" type="presParOf" srcId="{93FFF5C0-3C20-4A31-9B88-2227725FE9C7}" destId="{27C55B06-4A97-48E2-892F-300AD118505E}" srcOrd="2" destOrd="0" presId="urn:microsoft.com/office/officeart/2005/8/layout/list1"/>
    <dgm:cxn modelId="{78C83CE2-9955-4DE4-A5EC-FD4531DF17B4}" type="presParOf" srcId="{93FFF5C0-3C20-4A31-9B88-2227725FE9C7}" destId="{50C20F48-566D-495D-B0DD-4FED6318CB40}" srcOrd="3" destOrd="0" presId="urn:microsoft.com/office/officeart/2005/8/layout/list1"/>
    <dgm:cxn modelId="{E8A57A9D-5200-4A7F-B938-82B802F3B345}" type="presParOf" srcId="{93FFF5C0-3C20-4A31-9B88-2227725FE9C7}" destId="{8EF144CD-BACA-4C5D-8FBB-F29D9462D4A5}" srcOrd="4" destOrd="0" presId="urn:microsoft.com/office/officeart/2005/8/layout/list1"/>
    <dgm:cxn modelId="{E22F5366-DBB5-4797-9A3F-26FE5A51828C}" type="presParOf" srcId="{8EF144CD-BACA-4C5D-8FBB-F29D9462D4A5}" destId="{9EF4EC8B-AA57-4820-BDC1-6AE51ECAF6AD}" srcOrd="0" destOrd="0" presId="urn:microsoft.com/office/officeart/2005/8/layout/list1"/>
    <dgm:cxn modelId="{087EF263-D6AA-4F3D-94A2-02CA444F16AC}" type="presParOf" srcId="{8EF144CD-BACA-4C5D-8FBB-F29D9462D4A5}" destId="{708A4EE3-91D8-4EF3-96AF-1F03768FC20A}" srcOrd="1" destOrd="0" presId="urn:microsoft.com/office/officeart/2005/8/layout/list1"/>
    <dgm:cxn modelId="{0FA175AE-CCBA-4402-B1F6-823EF3E4F812}" type="presParOf" srcId="{93FFF5C0-3C20-4A31-9B88-2227725FE9C7}" destId="{832D397B-925D-435F-95CA-5123D2F5B81A}" srcOrd="5" destOrd="0" presId="urn:microsoft.com/office/officeart/2005/8/layout/list1"/>
    <dgm:cxn modelId="{AAB7A2FC-A46C-4EF3-9C87-F18EAD4CC888}" type="presParOf" srcId="{93FFF5C0-3C20-4A31-9B88-2227725FE9C7}" destId="{7BB31117-F62B-4829-951A-144D9D1D2919}" srcOrd="6" destOrd="0" presId="urn:microsoft.com/office/officeart/2005/8/layout/list1"/>
    <dgm:cxn modelId="{0B7AE98A-F58D-482A-A317-A957AA7E9AFD}" type="presParOf" srcId="{93FFF5C0-3C20-4A31-9B88-2227725FE9C7}" destId="{B5515F38-F666-462D-980B-61E445E324CF}" srcOrd="7" destOrd="0" presId="urn:microsoft.com/office/officeart/2005/8/layout/list1"/>
    <dgm:cxn modelId="{02AFEBE3-5D18-425A-AA97-9C2D51262604}" type="presParOf" srcId="{93FFF5C0-3C20-4A31-9B88-2227725FE9C7}" destId="{8B2B5AA2-FD0C-46BA-861B-CE12A3EEFF0E}" srcOrd="8" destOrd="0" presId="urn:microsoft.com/office/officeart/2005/8/layout/list1"/>
    <dgm:cxn modelId="{0B891CCE-B342-4BEC-B005-AA1BDEC8D7B8}" type="presParOf" srcId="{8B2B5AA2-FD0C-46BA-861B-CE12A3EEFF0E}" destId="{FBBDB46D-D080-48A5-9EFE-2B92B9199491}" srcOrd="0" destOrd="0" presId="urn:microsoft.com/office/officeart/2005/8/layout/list1"/>
    <dgm:cxn modelId="{05A90DEC-5F87-4072-A285-03D300CAFCFC}" type="presParOf" srcId="{8B2B5AA2-FD0C-46BA-861B-CE12A3EEFF0E}" destId="{55321774-AEAE-48C0-AD7A-5AF1CAD2A7E4}" srcOrd="1" destOrd="0" presId="urn:microsoft.com/office/officeart/2005/8/layout/list1"/>
    <dgm:cxn modelId="{FCAD01E4-4EE3-4743-9C0C-245E54B5037A}" type="presParOf" srcId="{93FFF5C0-3C20-4A31-9B88-2227725FE9C7}" destId="{F14333D1-0D7B-448F-A7BF-137F4303615D}" srcOrd="9" destOrd="0" presId="urn:microsoft.com/office/officeart/2005/8/layout/list1"/>
    <dgm:cxn modelId="{0CA437C6-E9E0-4E7D-BD04-EA6457940995}" type="presParOf" srcId="{93FFF5C0-3C20-4A31-9B88-2227725FE9C7}" destId="{80DC8CE5-9436-4DDB-BE78-A6992A969238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969E95-8A41-45A7-A46C-53BE883D9AD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0D661F-D017-498C-9E49-C0B8D61B41D2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cs typeface="Arial" panose="020B0604020202020204" pitchFamily="34" charset="0"/>
            </a:rPr>
            <a:t>Significant disparities in country-specific discount rates, emphasizing the importance of selecting accurate discount rates</a:t>
          </a:r>
          <a:endParaRPr lang="en-US" sz="1800" dirty="0"/>
        </a:p>
      </dgm:t>
    </dgm:pt>
    <dgm:pt modelId="{27B3C793-6C4F-4B4F-B4FC-AF02C471DDE6}" type="parTrans" cxnId="{B3847210-7859-46C6-8FE8-0D74A8C4AC12}">
      <dgm:prSet/>
      <dgm:spPr/>
      <dgm:t>
        <a:bodyPr/>
        <a:lstStyle/>
        <a:p>
          <a:endParaRPr lang="en-US" sz="2800"/>
        </a:p>
      </dgm:t>
    </dgm:pt>
    <dgm:pt modelId="{A39728E8-F62B-4E1E-B14F-7959708F5E90}" type="sibTrans" cxnId="{B3847210-7859-46C6-8FE8-0D74A8C4AC12}">
      <dgm:prSet/>
      <dgm:spPr/>
      <dgm:t>
        <a:bodyPr/>
        <a:lstStyle/>
        <a:p>
          <a:endParaRPr lang="en-US" sz="2800"/>
        </a:p>
      </dgm:t>
    </dgm:pt>
    <dgm:pt modelId="{D36451D2-2D1B-46CD-A01E-B8A2A2B32EFA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High risk premium for (pooled) GCC panel (2.8%)</a:t>
          </a:r>
          <a:endParaRPr lang="en-US" sz="1800" dirty="0"/>
        </a:p>
      </dgm:t>
    </dgm:pt>
    <dgm:pt modelId="{1706E7AC-2042-405B-8C91-A945519B225B}" type="parTrans" cxnId="{781901FD-CBA6-4D83-9621-466D5F98810D}">
      <dgm:prSet/>
      <dgm:spPr/>
      <dgm:t>
        <a:bodyPr/>
        <a:lstStyle/>
        <a:p>
          <a:endParaRPr lang="en-US" sz="2800"/>
        </a:p>
      </dgm:t>
    </dgm:pt>
    <dgm:pt modelId="{027F39ED-0875-4451-B597-EB7C63D58512}" type="sibTrans" cxnId="{781901FD-CBA6-4D83-9621-466D5F98810D}">
      <dgm:prSet/>
      <dgm:spPr/>
      <dgm:t>
        <a:bodyPr/>
        <a:lstStyle/>
        <a:p>
          <a:endParaRPr lang="en-US" sz="2800"/>
        </a:p>
      </dgm:t>
    </dgm:pt>
    <dgm:pt modelId="{93FFF5C0-3C20-4A31-9B88-2227725FE9C7}" type="pres">
      <dgm:prSet presAssocID="{F7969E95-8A41-45A7-A46C-53BE883D9AD9}" presName="linear" presStyleCnt="0">
        <dgm:presLayoutVars>
          <dgm:dir/>
          <dgm:animLvl val="lvl"/>
          <dgm:resizeHandles val="exact"/>
        </dgm:presLayoutVars>
      </dgm:prSet>
      <dgm:spPr/>
    </dgm:pt>
    <dgm:pt modelId="{85B81628-B2C6-435D-BAFF-16631CE3E333}" type="pres">
      <dgm:prSet presAssocID="{600D661F-D017-498C-9E49-C0B8D61B41D2}" presName="parentLin" presStyleCnt="0"/>
      <dgm:spPr/>
    </dgm:pt>
    <dgm:pt modelId="{328A37B6-B058-4C71-AAB4-D3DFA02D4927}" type="pres">
      <dgm:prSet presAssocID="{600D661F-D017-498C-9E49-C0B8D61B41D2}" presName="parentLeftMargin" presStyleLbl="node1" presStyleIdx="0" presStyleCnt="2"/>
      <dgm:spPr/>
    </dgm:pt>
    <dgm:pt modelId="{7D9DA708-BD77-4906-902E-765B455CB3BE}" type="pres">
      <dgm:prSet presAssocID="{600D661F-D017-498C-9E49-C0B8D61B41D2}" presName="parentText" presStyleLbl="node1" presStyleIdx="0" presStyleCnt="2" custScaleX="133886">
        <dgm:presLayoutVars>
          <dgm:chMax val="0"/>
          <dgm:bulletEnabled val="1"/>
        </dgm:presLayoutVars>
      </dgm:prSet>
      <dgm:spPr/>
    </dgm:pt>
    <dgm:pt modelId="{F83F7FAB-86AC-4FA7-BE30-0D0455578FE0}" type="pres">
      <dgm:prSet presAssocID="{600D661F-D017-498C-9E49-C0B8D61B41D2}" presName="negativeSpace" presStyleCnt="0"/>
      <dgm:spPr/>
    </dgm:pt>
    <dgm:pt modelId="{27C55B06-4A97-48E2-892F-300AD118505E}" type="pres">
      <dgm:prSet presAssocID="{600D661F-D017-498C-9E49-C0B8D61B41D2}" presName="childText" presStyleLbl="conFgAcc1" presStyleIdx="0" presStyleCnt="2">
        <dgm:presLayoutVars>
          <dgm:bulletEnabled val="1"/>
        </dgm:presLayoutVars>
      </dgm:prSet>
      <dgm:spPr/>
    </dgm:pt>
    <dgm:pt modelId="{50C20F48-566D-495D-B0DD-4FED6318CB40}" type="pres">
      <dgm:prSet presAssocID="{A39728E8-F62B-4E1E-B14F-7959708F5E90}" presName="spaceBetweenRectangles" presStyleCnt="0"/>
      <dgm:spPr/>
    </dgm:pt>
    <dgm:pt modelId="{8EF144CD-BACA-4C5D-8FBB-F29D9462D4A5}" type="pres">
      <dgm:prSet presAssocID="{D36451D2-2D1B-46CD-A01E-B8A2A2B32EFA}" presName="parentLin" presStyleCnt="0"/>
      <dgm:spPr/>
    </dgm:pt>
    <dgm:pt modelId="{9EF4EC8B-AA57-4820-BDC1-6AE51ECAF6AD}" type="pres">
      <dgm:prSet presAssocID="{D36451D2-2D1B-46CD-A01E-B8A2A2B32EFA}" presName="parentLeftMargin" presStyleLbl="node1" presStyleIdx="0" presStyleCnt="2"/>
      <dgm:spPr/>
    </dgm:pt>
    <dgm:pt modelId="{708A4EE3-91D8-4EF3-96AF-1F03768FC20A}" type="pres">
      <dgm:prSet presAssocID="{D36451D2-2D1B-46CD-A01E-B8A2A2B32EFA}" presName="parentText" presStyleLbl="node1" presStyleIdx="1" presStyleCnt="2" custScaleX="134064">
        <dgm:presLayoutVars>
          <dgm:chMax val="0"/>
          <dgm:bulletEnabled val="1"/>
        </dgm:presLayoutVars>
      </dgm:prSet>
      <dgm:spPr/>
    </dgm:pt>
    <dgm:pt modelId="{832D397B-925D-435F-95CA-5123D2F5B81A}" type="pres">
      <dgm:prSet presAssocID="{D36451D2-2D1B-46CD-A01E-B8A2A2B32EFA}" presName="negativeSpace" presStyleCnt="0"/>
      <dgm:spPr/>
    </dgm:pt>
    <dgm:pt modelId="{7BB31117-F62B-4829-951A-144D9D1D2919}" type="pres">
      <dgm:prSet presAssocID="{D36451D2-2D1B-46CD-A01E-B8A2A2B32EFA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B3847210-7859-46C6-8FE8-0D74A8C4AC12}" srcId="{F7969E95-8A41-45A7-A46C-53BE883D9AD9}" destId="{600D661F-D017-498C-9E49-C0B8D61B41D2}" srcOrd="0" destOrd="0" parTransId="{27B3C793-6C4F-4B4F-B4FC-AF02C471DDE6}" sibTransId="{A39728E8-F62B-4E1E-B14F-7959708F5E90}"/>
    <dgm:cxn modelId="{25B31464-249B-4914-82B3-AE6E6556A79C}" type="presOf" srcId="{600D661F-D017-498C-9E49-C0B8D61B41D2}" destId="{7D9DA708-BD77-4906-902E-765B455CB3BE}" srcOrd="1" destOrd="0" presId="urn:microsoft.com/office/officeart/2005/8/layout/list1"/>
    <dgm:cxn modelId="{64DAC54E-086E-426E-93CC-D6B839937876}" type="presOf" srcId="{D36451D2-2D1B-46CD-A01E-B8A2A2B32EFA}" destId="{708A4EE3-91D8-4EF3-96AF-1F03768FC20A}" srcOrd="1" destOrd="0" presId="urn:microsoft.com/office/officeart/2005/8/layout/list1"/>
    <dgm:cxn modelId="{AAD0ED7C-243B-43D3-ABDD-1FC23AA62603}" type="presOf" srcId="{D36451D2-2D1B-46CD-A01E-B8A2A2B32EFA}" destId="{9EF4EC8B-AA57-4820-BDC1-6AE51ECAF6AD}" srcOrd="0" destOrd="0" presId="urn:microsoft.com/office/officeart/2005/8/layout/list1"/>
    <dgm:cxn modelId="{32D043B4-3D4D-439C-88B8-347010CA48BC}" type="presOf" srcId="{600D661F-D017-498C-9E49-C0B8D61B41D2}" destId="{328A37B6-B058-4C71-AAB4-D3DFA02D4927}" srcOrd="0" destOrd="0" presId="urn:microsoft.com/office/officeart/2005/8/layout/list1"/>
    <dgm:cxn modelId="{CD5DA2F0-58FB-41A3-8046-26512F5F1CFE}" type="presOf" srcId="{F7969E95-8A41-45A7-A46C-53BE883D9AD9}" destId="{93FFF5C0-3C20-4A31-9B88-2227725FE9C7}" srcOrd="0" destOrd="0" presId="urn:microsoft.com/office/officeart/2005/8/layout/list1"/>
    <dgm:cxn modelId="{781901FD-CBA6-4D83-9621-466D5F98810D}" srcId="{F7969E95-8A41-45A7-A46C-53BE883D9AD9}" destId="{D36451D2-2D1B-46CD-A01E-B8A2A2B32EFA}" srcOrd="1" destOrd="0" parTransId="{1706E7AC-2042-405B-8C91-A945519B225B}" sibTransId="{027F39ED-0875-4451-B597-EB7C63D58512}"/>
    <dgm:cxn modelId="{0EA10556-0A9A-456A-8740-9815AE5B58DF}" type="presParOf" srcId="{93FFF5C0-3C20-4A31-9B88-2227725FE9C7}" destId="{85B81628-B2C6-435D-BAFF-16631CE3E333}" srcOrd="0" destOrd="0" presId="urn:microsoft.com/office/officeart/2005/8/layout/list1"/>
    <dgm:cxn modelId="{1DFA24FB-5FA7-4CD1-B412-81A0C877C960}" type="presParOf" srcId="{85B81628-B2C6-435D-BAFF-16631CE3E333}" destId="{328A37B6-B058-4C71-AAB4-D3DFA02D4927}" srcOrd="0" destOrd="0" presId="urn:microsoft.com/office/officeart/2005/8/layout/list1"/>
    <dgm:cxn modelId="{02690DFD-B248-4E54-B272-4A842E3AD46A}" type="presParOf" srcId="{85B81628-B2C6-435D-BAFF-16631CE3E333}" destId="{7D9DA708-BD77-4906-902E-765B455CB3BE}" srcOrd="1" destOrd="0" presId="urn:microsoft.com/office/officeart/2005/8/layout/list1"/>
    <dgm:cxn modelId="{040455D7-C297-4943-A295-861A286723D6}" type="presParOf" srcId="{93FFF5C0-3C20-4A31-9B88-2227725FE9C7}" destId="{F83F7FAB-86AC-4FA7-BE30-0D0455578FE0}" srcOrd="1" destOrd="0" presId="urn:microsoft.com/office/officeart/2005/8/layout/list1"/>
    <dgm:cxn modelId="{321C3057-A59C-4410-B24F-891449B937FB}" type="presParOf" srcId="{93FFF5C0-3C20-4A31-9B88-2227725FE9C7}" destId="{27C55B06-4A97-48E2-892F-300AD118505E}" srcOrd="2" destOrd="0" presId="urn:microsoft.com/office/officeart/2005/8/layout/list1"/>
    <dgm:cxn modelId="{78C83CE2-9955-4DE4-A5EC-FD4531DF17B4}" type="presParOf" srcId="{93FFF5C0-3C20-4A31-9B88-2227725FE9C7}" destId="{50C20F48-566D-495D-B0DD-4FED6318CB40}" srcOrd="3" destOrd="0" presId="urn:microsoft.com/office/officeart/2005/8/layout/list1"/>
    <dgm:cxn modelId="{E8A57A9D-5200-4A7F-B938-82B802F3B345}" type="presParOf" srcId="{93FFF5C0-3C20-4A31-9B88-2227725FE9C7}" destId="{8EF144CD-BACA-4C5D-8FBB-F29D9462D4A5}" srcOrd="4" destOrd="0" presId="urn:microsoft.com/office/officeart/2005/8/layout/list1"/>
    <dgm:cxn modelId="{E22F5366-DBB5-4797-9A3F-26FE5A51828C}" type="presParOf" srcId="{8EF144CD-BACA-4C5D-8FBB-F29D9462D4A5}" destId="{9EF4EC8B-AA57-4820-BDC1-6AE51ECAF6AD}" srcOrd="0" destOrd="0" presId="urn:microsoft.com/office/officeart/2005/8/layout/list1"/>
    <dgm:cxn modelId="{087EF263-D6AA-4F3D-94A2-02CA444F16AC}" type="presParOf" srcId="{8EF144CD-BACA-4C5D-8FBB-F29D9462D4A5}" destId="{708A4EE3-91D8-4EF3-96AF-1F03768FC20A}" srcOrd="1" destOrd="0" presId="urn:microsoft.com/office/officeart/2005/8/layout/list1"/>
    <dgm:cxn modelId="{0FA175AE-CCBA-4402-B1F6-823EF3E4F812}" type="presParOf" srcId="{93FFF5C0-3C20-4A31-9B88-2227725FE9C7}" destId="{832D397B-925D-435F-95CA-5123D2F5B81A}" srcOrd="5" destOrd="0" presId="urn:microsoft.com/office/officeart/2005/8/layout/list1"/>
    <dgm:cxn modelId="{AAB7A2FC-A46C-4EF3-9C87-F18EAD4CC888}" type="presParOf" srcId="{93FFF5C0-3C20-4A31-9B88-2227725FE9C7}" destId="{7BB31117-F62B-4829-951A-144D9D1D2919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C55B06-4A97-48E2-892F-300AD118505E}">
      <dsp:nvSpPr>
        <dsp:cNvPr id="0" name=""/>
        <dsp:cNvSpPr/>
      </dsp:nvSpPr>
      <dsp:spPr>
        <a:xfrm>
          <a:off x="0" y="192704"/>
          <a:ext cx="9039076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9DA708-BD77-4906-902E-765B455CB3BE}">
      <dsp:nvSpPr>
        <dsp:cNvPr id="0" name=""/>
        <dsp:cNvSpPr/>
      </dsp:nvSpPr>
      <dsp:spPr>
        <a:xfrm>
          <a:off x="451512" y="824"/>
          <a:ext cx="846316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9159" tIns="0" rIns="239159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ich effect holds greater significance?</a:t>
          </a:r>
          <a:endParaRPr lang="en-US" sz="1800" kern="1200" dirty="0"/>
        </a:p>
      </dsp:txBody>
      <dsp:txXfrm>
        <a:off x="470246" y="19558"/>
        <a:ext cx="8425699" cy="346292"/>
      </dsp:txXfrm>
    </dsp:sp>
    <dsp:sp modelId="{7BB31117-F62B-4829-951A-144D9D1D2919}">
      <dsp:nvSpPr>
        <dsp:cNvPr id="0" name=""/>
        <dsp:cNvSpPr/>
      </dsp:nvSpPr>
      <dsp:spPr>
        <a:xfrm>
          <a:off x="0" y="782384"/>
          <a:ext cx="9039076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A4EE3-91D8-4EF3-96AF-1F03768FC20A}">
      <dsp:nvSpPr>
        <dsp:cNvPr id="0" name=""/>
        <dsp:cNvSpPr/>
      </dsp:nvSpPr>
      <dsp:spPr>
        <a:xfrm>
          <a:off x="451512" y="590505"/>
          <a:ext cx="8474418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9159" tIns="0" rIns="239159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at is the magnitude of the oil price risk premium? </a:t>
          </a:r>
          <a:endParaRPr lang="en-US" sz="1800" kern="1200" dirty="0"/>
        </a:p>
      </dsp:txBody>
      <dsp:txXfrm>
        <a:off x="470246" y="609239"/>
        <a:ext cx="8436950" cy="346292"/>
      </dsp:txXfrm>
    </dsp:sp>
    <dsp:sp modelId="{80DC8CE5-9436-4DDB-BE78-A6992A969238}">
      <dsp:nvSpPr>
        <dsp:cNvPr id="0" name=""/>
        <dsp:cNvSpPr/>
      </dsp:nvSpPr>
      <dsp:spPr>
        <a:xfrm>
          <a:off x="0" y="1372064"/>
          <a:ext cx="9039076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321774-AEAE-48C0-AD7A-5AF1CAD2A7E4}">
      <dsp:nvSpPr>
        <dsp:cNvPr id="0" name=""/>
        <dsp:cNvSpPr/>
      </dsp:nvSpPr>
      <dsp:spPr>
        <a:xfrm>
          <a:off x="451512" y="1180185"/>
          <a:ext cx="8480171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9159" tIns="0" rIns="239159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Do the effects vary significantly? </a:t>
          </a:r>
          <a:endParaRPr lang="en-US" sz="1800" kern="1200" dirty="0"/>
        </a:p>
      </dsp:txBody>
      <dsp:txXfrm>
        <a:off x="470246" y="1198919"/>
        <a:ext cx="8442703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C55B06-4A97-48E2-892F-300AD118505E}">
      <dsp:nvSpPr>
        <dsp:cNvPr id="0" name=""/>
        <dsp:cNvSpPr/>
      </dsp:nvSpPr>
      <dsp:spPr>
        <a:xfrm>
          <a:off x="0" y="626316"/>
          <a:ext cx="5776761" cy="103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9DA708-BD77-4906-902E-765B455CB3BE}">
      <dsp:nvSpPr>
        <dsp:cNvPr id="0" name=""/>
        <dsp:cNvSpPr/>
      </dsp:nvSpPr>
      <dsp:spPr>
        <a:xfrm>
          <a:off x="288838" y="21155"/>
          <a:ext cx="5413991" cy="1210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843" tIns="0" rIns="15284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cs typeface="Arial" panose="020B0604020202020204" pitchFamily="34" charset="0"/>
            </a:rPr>
            <a:t>Significant disparities in country-specific discount rates, emphasizing the importance of selecting accurate discount rates</a:t>
          </a:r>
          <a:endParaRPr lang="en-US" sz="1800" kern="1200" dirty="0"/>
        </a:p>
      </dsp:txBody>
      <dsp:txXfrm>
        <a:off x="347921" y="80238"/>
        <a:ext cx="5295825" cy="1092154"/>
      </dsp:txXfrm>
    </dsp:sp>
    <dsp:sp modelId="{7BB31117-F62B-4829-951A-144D9D1D2919}">
      <dsp:nvSpPr>
        <dsp:cNvPr id="0" name=""/>
        <dsp:cNvSpPr/>
      </dsp:nvSpPr>
      <dsp:spPr>
        <a:xfrm>
          <a:off x="0" y="2486076"/>
          <a:ext cx="5776761" cy="103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A4EE3-91D8-4EF3-96AF-1F03768FC20A}">
      <dsp:nvSpPr>
        <dsp:cNvPr id="0" name=""/>
        <dsp:cNvSpPr/>
      </dsp:nvSpPr>
      <dsp:spPr>
        <a:xfrm>
          <a:off x="288838" y="1880915"/>
          <a:ext cx="5421189" cy="1210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843" tIns="0" rIns="15284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High risk premium for (pooled) GCC panel (2.8%)</a:t>
          </a:r>
          <a:endParaRPr lang="en-US" sz="1800" kern="1200" dirty="0"/>
        </a:p>
      </dsp:txBody>
      <dsp:txXfrm>
        <a:off x="347921" y="1939998"/>
        <a:ext cx="5303023" cy="10921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BA8D2C-EB58-4129-7665-29B846E651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D9DC3E-E2E3-EF46-F90C-267E098BE12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03E170-4486-4E1E-A412-15DD007DDEB4}" type="datetimeFigureOut">
              <a:rPr lang="en-US" smtClean="0"/>
              <a:t>10/3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33D11-279F-E414-FBA2-07E09AF7EA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ABF4C5-1351-4D82-D3BD-9D9008432C4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A26B32-9A0F-434F-8DCD-0C370D9A59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5963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CB0857-D562-4A70-B1E0-7254C594D7D5}" type="datetimeFigureOut">
              <a:rPr lang="en-US" smtClean="0"/>
              <a:t>10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B94A8B-0269-4C22-A01B-E1F5AB7C1C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1684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30 October 2023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CB4BD2-D4F8-BCC8-83FB-C5DA7E24BA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398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9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30 October 2023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B9E527-7605-CD06-ABEC-33A6F9279F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416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77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519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312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7117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996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594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94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788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microsoft.com/office/2007/relationships/hdphoto" Target="../media/hdphoto1.wdp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4.jpeg"/><Relationship Id="rId5" Type="http://schemas.openxmlformats.org/officeDocument/2006/relationships/tags" Target="../tags/tag25.xml"/><Relationship Id="rId10" Type="http://schemas.openxmlformats.org/officeDocument/2006/relationships/image" Target="../media/image3.emf"/><Relationship Id="rId4" Type="http://schemas.openxmlformats.org/officeDocument/2006/relationships/tags" Target="../tags/tag24.xml"/><Relationship Id="rId9" Type="http://schemas.openxmlformats.org/officeDocument/2006/relationships/oleObject" Target="../embeddings/oleObject2.bin"/><Relationship Id="rId1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2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7.emf"/><Relationship Id="rId5" Type="http://schemas.openxmlformats.org/officeDocument/2006/relationships/tags" Target="../tags/tag9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1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2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image" Target="../media/image1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99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10" Type="http://schemas.openxmlformats.org/officeDocument/2006/relationships/image" Target="../media/image2.emf"/><Relationship Id="rId4" Type="http://schemas.openxmlformats.org/officeDocument/2006/relationships/tags" Target="../tags/tag107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3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10" Type="http://schemas.openxmlformats.org/officeDocument/2006/relationships/image" Target="../media/image1.emf"/><Relationship Id="rId4" Type="http://schemas.openxmlformats.org/officeDocument/2006/relationships/tags" Target="../tags/tag119.xml"/><Relationship Id="rId9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Master" Target="../slideMasters/slideMaster1.xml"/><Relationship Id="rId11" Type="http://schemas.microsoft.com/office/2007/relationships/hdphoto" Target="../media/hdphoto1.wdp"/><Relationship Id="rId5" Type="http://schemas.openxmlformats.org/officeDocument/2006/relationships/tags" Target="../tags/tag127.xml"/><Relationship Id="rId10" Type="http://schemas.openxmlformats.org/officeDocument/2006/relationships/image" Target="../media/image5.png"/><Relationship Id="rId4" Type="http://schemas.openxmlformats.org/officeDocument/2006/relationships/tags" Target="../tags/tag126.xml"/><Relationship Id="rId9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51.xml"/><Relationship Id="rId7" Type="http://schemas.openxmlformats.org/officeDocument/2006/relationships/image" Target="../media/image3.emf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52.xml"/><Relationship Id="rId9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1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microsoft.com/office/2007/relationships/hdphoto" Target="../media/hdphoto2.wdp"/><Relationship Id="rId5" Type="http://schemas.openxmlformats.org/officeDocument/2006/relationships/tags" Target="../tags/tag176.xml"/><Relationship Id="rId10" Type="http://schemas.openxmlformats.org/officeDocument/2006/relationships/image" Target="../media/image8.png"/><Relationship Id="rId4" Type="http://schemas.openxmlformats.org/officeDocument/2006/relationships/tags" Target="../tags/tag175.xml"/><Relationship Id="rId9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10" Type="http://schemas.openxmlformats.org/officeDocument/2006/relationships/image" Target="../media/image3.emf"/><Relationship Id="rId4" Type="http://schemas.openxmlformats.org/officeDocument/2006/relationships/tags" Target="../tags/tag181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2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image" Target="../media/image1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88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2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image" Target="../media/image1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image" Target="../media/image2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image" Target="../media/image3.emf"/><Relationship Id="rId5" Type="http://schemas.openxmlformats.org/officeDocument/2006/relationships/tags" Target="../tags/tag205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2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image" Target="../media/image1.emf"/><Relationship Id="rId5" Type="http://schemas.openxmlformats.org/officeDocument/2006/relationships/tags" Target="../tags/tag213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2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image" Target="../media/image2.emf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image" Target="../media/image3.emf"/><Relationship Id="rId5" Type="http://schemas.openxmlformats.org/officeDocument/2006/relationships/tags" Target="../tags/tag221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20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image" Target="../media/image2.emf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image" Target="../media/image3.emf"/><Relationship Id="rId5" Type="http://schemas.openxmlformats.org/officeDocument/2006/relationships/tags" Target="../tags/tag22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28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image" Target="../media/image2.emf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image" Target="../media/image1.emf"/><Relationship Id="rId5" Type="http://schemas.openxmlformats.org/officeDocument/2006/relationships/tags" Target="../tags/tag237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6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2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image" Target="../media/image3.emf"/><Relationship Id="rId5" Type="http://schemas.openxmlformats.org/officeDocument/2006/relationships/tags" Target="../tags/tag245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4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10" Type="http://schemas.openxmlformats.org/officeDocument/2006/relationships/image" Target="../media/image2.emf"/><Relationship Id="rId4" Type="http://schemas.openxmlformats.org/officeDocument/2006/relationships/tags" Target="../tags/tag252.xml"/><Relationship Id="rId9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3.emf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5" Type="http://schemas.openxmlformats.org/officeDocument/2006/relationships/tags" Target="../tags/tag265.xml"/><Relationship Id="rId10" Type="http://schemas.openxmlformats.org/officeDocument/2006/relationships/image" Target="../media/image1.emf"/><Relationship Id="rId4" Type="http://schemas.openxmlformats.org/officeDocument/2006/relationships/tags" Target="../tags/tag264.xml"/><Relationship Id="rId9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slideMaster" Target="../slideMasters/slideMaster2.xml"/><Relationship Id="rId11" Type="http://schemas.microsoft.com/office/2007/relationships/hdphoto" Target="../media/hdphoto1.wdp"/><Relationship Id="rId5" Type="http://schemas.openxmlformats.org/officeDocument/2006/relationships/tags" Target="../tags/tag272.xml"/><Relationship Id="rId10" Type="http://schemas.openxmlformats.org/officeDocument/2006/relationships/image" Target="../media/image5.png"/><Relationship Id="rId4" Type="http://schemas.openxmlformats.org/officeDocument/2006/relationships/tags" Target="../tags/tag271.xml"/><Relationship Id="rId9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2.xml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3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Relationship Id="rId9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4" Type="http://schemas.openxmlformats.org/officeDocument/2006/relationships/tags" Target="../tags/tag307.xml"/><Relationship Id="rId9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slideMaster" Target="../slideMasters/slideMaster3.xml"/><Relationship Id="rId11" Type="http://schemas.microsoft.com/office/2007/relationships/hdphoto" Target="../media/hdphoto1.wdp"/><Relationship Id="rId5" Type="http://schemas.openxmlformats.org/officeDocument/2006/relationships/tags" Target="../tags/tag316.xml"/><Relationship Id="rId10" Type="http://schemas.openxmlformats.org/officeDocument/2006/relationships/image" Target="../media/image5.png"/><Relationship Id="rId4" Type="http://schemas.openxmlformats.org/officeDocument/2006/relationships/tags" Target="../tags/tag315.xml"/><Relationship Id="rId9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6.png"/><Relationship Id="rId4" Type="http://schemas.openxmlformats.org/officeDocument/2006/relationships/tags" Target="../tags/tag54.xml"/><Relationship Id="rId9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5" Type="http://schemas.openxmlformats.org/officeDocument/2006/relationships/tags" Target="../tags/tag321.xml"/><Relationship Id="rId10" Type="http://schemas.openxmlformats.org/officeDocument/2006/relationships/image" Target="../media/image1.emf"/><Relationship Id="rId4" Type="http://schemas.openxmlformats.org/officeDocument/2006/relationships/tags" Target="../tags/tag320.xml"/><Relationship Id="rId9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3.xml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7.xml"/><Relationship Id="rId7" Type="http://schemas.openxmlformats.org/officeDocument/2006/relationships/oleObject" Target="../embeddings/oleObject3.bin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slideMaster" Target="../slideMasters/slideMaster4.xml"/><Relationship Id="rId11" Type="http://schemas.microsoft.com/office/2007/relationships/hdphoto" Target="../media/hdphoto1.wdp"/><Relationship Id="rId5" Type="http://schemas.openxmlformats.org/officeDocument/2006/relationships/tags" Target="../tags/tag349.xml"/><Relationship Id="rId10" Type="http://schemas.openxmlformats.org/officeDocument/2006/relationships/image" Target="../media/image5.png"/><Relationship Id="rId4" Type="http://schemas.openxmlformats.org/officeDocument/2006/relationships/tags" Target="../tags/tag348.xml"/><Relationship Id="rId9" Type="http://schemas.openxmlformats.org/officeDocument/2006/relationships/image" Target="../media/image4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3.emf"/><Relationship Id="rId4" Type="http://schemas.openxmlformats.org/officeDocument/2006/relationships/tags" Target="../tags/tag60.xml"/><Relationship Id="rId9" Type="http://schemas.openxmlformats.org/officeDocument/2006/relationships/oleObject" Target="../embeddings/oleObject9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5" Type="http://schemas.openxmlformats.org/officeDocument/2006/relationships/tags" Target="../tags/tag354.xml"/><Relationship Id="rId10" Type="http://schemas.openxmlformats.org/officeDocument/2006/relationships/image" Target="../media/image1.emf"/><Relationship Id="rId4" Type="http://schemas.openxmlformats.org/officeDocument/2006/relationships/tags" Target="../tags/tag353.xml"/><Relationship Id="rId9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6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7.xml"/><Relationship Id="rId4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9.xml"/><Relationship Id="rId4" Type="http://schemas.openxmlformats.org/officeDocument/2006/relationships/image" Target="../media/image11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8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slideMaster" Target="../slideMasters/slideMaster6.xml"/><Relationship Id="rId11" Type="http://schemas.microsoft.com/office/2007/relationships/hdphoto" Target="../media/hdphoto1.wdp"/><Relationship Id="rId5" Type="http://schemas.openxmlformats.org/officeDocument/2006/relationships/tags" Target="../tags/tag384.xml"/><Relationship Id="rId10" Type="http://schemas.openxmlformats.org/officeDocument/2006/relationships/image" Target="../media/image5.png"/><Relationship Id="rId4" Type="http://schemas.openxmlformats.org/officeDocument/2006/relationships/tags" Target="../tags/tag383.xml"/><Relationship Id="rId9" Type="http://schemas.openxmlformats.org/officeDocument/2006/relationships/image" Target="../media/image4.jpe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5" Type="http://schemas.openxmlformats.org/officeDocument/2006/relationships/tags" Target="../tags/tag389.xml"/><Relationship Id="rId10" Type="http://schemas.openxmlformats.org/officeDocument/2006/relationships/image" Target="../media/image1.emf"/><Relationship Id="rId4" Type="http://schemas.openxmlformats.org/officeDocument/2006/relationships/tags" Target="../tags/tag388.xml"/><Relationship Id="rId9" Type="http://schemas.openxmlformats.org/officeDocument/2006/relationships/oleObject" Target="../embeddings/oleObject5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1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2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4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2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image" Target="../media/image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5.xml"/><Relationship Id="rId4" Type="http://schemas.openxmlformats.org/officeDocument/2006/relationships/image" Target="../media/image1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5.bin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60.xml"/><Relationship Id="rId7" Type="http://schemas.openxmlformats.org/officeDocument/2006/relationships/oleObject" Target="../embeddings/oleObject67.bin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slideMaster" Target="../slideMasters/slideMaster9.xml"/><Relationship Id="rId11" Type="http://schemas.microsoft.com/office/2007/relationships/hdphoto" Target="../media/hdphoto1.wdp"/><Relationship Id="rId5" Type="http://schemas.openxmlformats.org/officeDocument/2006/relationships/tags" Target="../tags/tag462.xml"/><Relationship Id="rId10" Type="http://schemas.openxmlformats.org/officeDocument/2006/relationships/image" Target="../media/image5.png"/><Relationship Id="rId4" Type="http://schemas.openxmlformats.org/officeDocument/2006/relationships/tags" Target="../tags/tag461.xml"/><Relationship Id="rId9" Type="http://schemas.openxmlformats.org/officeDocument/2006/relationships/image" Target="../media/image4.jpe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65.xml"/><Relationship Id="rId7" Type="http://schemas.openxmlformats.org/officeDocument/2006/relationships/tags" Target="../tags/tag469.xml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tags" Target="../tags/tag468.xml"/><Relationship Id="rId5" Type="http://schemas.openxmlformats.org/officeDocument/2006/relationships/tags" Target="../tags/tag467.xml"/><Relationship Id="rId10" Type="http://schemas.openxmlformats.org/officeDocument/2006/relationships/image" Target="../media/image1.emf"/><Relationship Id="rId4" Type="http://schemas.openxmlformats.org/officeDocument/2006/relationships/tags" Target="../tags/tag466.xml"/><Relationship Id="rId9" Type="http://schemas.openxmlformats.org/officeDocument/2006/relationships/oleObject" Target="../embeddings/oleObject68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47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4" Type="http://schemas.openxmlformats.org/officeDocument/2006/relationships/tags" Target="../tags/tag473.xml"/><Relationship Id="rId9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478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tags" Target="../tags/tag481.xml"/><Relationship Id="rId5" Type="http://schemas.openxmlformats.org/officeDocument/2006/relationships/tags" Target="../tags/tag480.xml"/><Relationship Id="rId4" Type="http://schemas.openxmlformats.org/officeDocument/2006/relationships/tags" Target="../tags/tag479.xml"/><Relationship Id="rId9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3" Type="http://schemas.openxmlformats.org/officeDocument/2006/relationships/tags" Target="../tags/tag484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10" Type="http://schemas.openxmlformats.org/officeDocument/2006/relationships/image" Target="../media/image6.png"/><Relationship Id="rId4" Type="http://schemas.openxmlformats.org/officeDocument/2006/relationships/tags" Target="../tags/tag485.xml"/><Relationship Id="rId9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10" Type="http://schemas.openxmlformats.org/officeDocument/2006/relationships/image" Target="../media/image3.emf"/><Relationship Id="rId4" Type="http://schemas.openxmlformats.org/officeDocument/2006/relationships/tags" Target="../tags/tag491.xml"/><Relationship Id="rId9" Type="http://schemas.openxmlformats.org/officeDocument/2006/relationships/oleObject" Target="../embeddings/oleObject7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image" Target="../media/image1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12" Type="http://schemas.openxmlformats.org/officeDocument/2006/relationships/image" Target="../media/image2.emf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11" Type="http://schemas.openxmlformats.org/officeDocument/2006/relationships/image" Target="../media/image1.emf"/><Relationship Id="rId5" Type="http://schemas.openxmlformats.org/officeDocument/2006/relationships/tags" Target="../tags/tag499.xml"/><Relationship Id="rId10" Type="http://schemas.openxmlformats.org/officeDocument/2006/relationships/oleObject" Target="../embeddings/oleObject73.bin"/><Relationship Id="rId4" Type="http://schemas.openxmlformats.org/officeDocument/2006/relationships/tags" Target="../tags/tag498.xml"/><Relationship Id="rId9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510.xml"/><Relationship Id="rId3" Type="http://schemas.openxmlformats.org/officeDocument/2006/relationships/tags" Target="../tags/tag505.xml"/><Relationship Id="rId7" Type="http://schemas.openxmlformats.org/officeDocument/2006/relationships/tags" Target="../tags/tag509.xml"/><Relationship Id="rId12" Type="http://schemas.openxmlformats.org/officeDocument/2006/relationships/image" Target="../media/image2.emf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tags" Target="../tags/tag508.xml"/><Relationship Id="rId11" Type="http://schemas.openxmlformats.org/officeDocument/2006/relationships/image" Target="../media/image1.emf"/><Relationship Id="rId5" Type="http://schemas.openxmlformats.org/officeDocument/2006/relationships/tags" Target="../tags/tag507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506.xml"/><Relationship Id="rId9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12" Type="http://schemas.openxmlformats.org/officeDocument/2006/relationships/image" Target="../media/image2.emf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11" Type="http://schemas.openxmlformats.org/officeDocument/2006/relationships/image" Target="../media/image1.emf"/><Relationship Id="rId5" Type="http://schemas.openxmlformats.org/officeDocument/2006/relationships/tags" Target="../tags/tag515.xml"/><Relationship Id="rId10" Type="http://schemas.openxmlformats.org/officeDocument/2006/relationships/oleObject" Target="../embeddings/oleObject75.bin"/><Relationship Id="rId4" Type="http://schemas.openxmlformats.org/officeDocument/2006/relationships/tags" Target="../tags/tag514.xml"/><Relationship Id="rId9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526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image" Target="../media/image2.emf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11" Type="http://schemas.openxmlformats.org/officeDocument/2006/relationships/image" Target="../media/image7.emf"/><Relationship Id="rId5" Type="http://schemas.openxmlformats.org/officeDocument/2006/relationships/tags" Target="../tags/tag523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522.xml"/><Relationship Id="rId9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534.xml"/><Relationship Id="rId3" Type="http://schemas.openxmlformats.org/officeDocument/2006/relationships/tags" Target="../tags/tag529.xml"/><Relationship Id="rId7" Type="http://schemas.openxmlformats.org/officeDocument/2006/relationships/tags" Target="../tags/tag533.xml"/><Relationship Id="rId12" Type="http://schemas.openxmlformats.org/officeDocument/2006/relationships/image" Target="../media/image2.emf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6" Type="http://schemas.openxmlformats.org/officeDocument/2006/relationships/tags" Target="../tags/tag532.xml"/><Relationship Id="rId11" Type="http://schemas.openxmlformats.org/officeDocument/2006/relationships/image" Target="../media/image1.emf"/><Relationship Id="rId5" Type="http://schemas.openxmlformats.org/officeDocument/2006/relationships/tags" Target="../tags/tag531.xml"/><Relationship Id="rId10" Type="http://schemas.openxmlformats.org/officeDocument/2006/relationships/oleObject" Target="../embeddings/oleObject77.bin"/><Relationship Id="rId4" Type="http://schemas.openxmlformats.org/officeDocument/2006/relationships/tags" Target="../tags/tag530.xml"/><Relationship Id="rId9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53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image" Target="../media/image2.emf"/><Relationship Id="rId4" Type="http://schemas.openxmlformats.org/officeDocument/2006/relationships/tags" Target="../tags/tag538.xml"/><Relationship Id="rId9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7" Type="http://schemas.openxmlformats.org/officeDocument/2006/relationships/image" Target="../media/image3.emf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4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169A25B-A5F4-4C97-8540-ED9CC98F969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CD6A66-48C6-4BD2-B9B9-41E1EE0976B5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8416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3CC0EF8-D168-4C66-AFFD-37DF3A91198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5B57B7-BC67-458E-B7B0-A0429154B7BF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8823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856B0F7-D900-4CD7-9173-6BCAEC340F0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03A2897-8F59-42BD-B6DD-251E725B958D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57F0324-A612-4AAB-9DC4-C7A748AF3DB1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8DE8D2-0E24-4923-8389-7500828D14BF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3C7CF2-784C-4329-9D05-25ECFF334BBF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09122C-351C-4F9A-98FA-AB182939F686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484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185D4E6-1D08-404B-9627-E173C227EB7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675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C41EC-7993-4253-98D7-CA91944B259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642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5CC27-0034-43C2-8E21-5A68676B54BF}" type="datetime1">
              <a:rPr lang="en-US" smtClean="0"/>
              <a:t>10/30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20" dirty="0"/>
              <a:t>Page </a:t>
            </a:r>
            <a:r>
              <a:rPr lang="en-US" spc="-30" dirty="0"/>
              <a:t>|</a:t>
            </a:r>
            <a:r>
              <a:rPr lang="en-US" spc="150" dirty="0"/>
              <a:t> </a:t>
            </a:r>
            <a:fld id="{81D60167-4931-47E6-BA6A-407CBD079E47}" type="slidenum">
              <a:rPr spc="-30" smtClean="0"/>
              <a:t>‹#›</a:t>
            </a:fld>
            <a:endParaRPr spc="-30" dirty="0"/>
          </a:p>
        </p:txBody>
      </p:sp>
    </p:spTree>
    <p:extLst>
      <p:ext uri="{BB962C8B-B14F-4D97-AF65-F5344CB8AC3E}">
        <p14:creationId xmlns:p14="http://schemas.microsoft.com/office/powerpoint/2010/main" val="990813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3248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3535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08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2BCB1AD8-BE24-4DE7-B8F8-3F2BF3879474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7" name="Picture 65" descr="About">
              <a:extLst>
                <a:ext uri="{FF2B5EF4-FFF2-40B4-BE49-F238E27FC236}">
                  <a16:creationId xmlns:a16="http://schemas.microsoft.com/office/drawing/2014/main" id="{7FE511F0-A4F5-4357-826B-B0AA3FF3E6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61EC77-5142-4B41-A3DC-755003E75C80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Group 1">
              <a:extLst>
                <a:ext uri="{FF2B5EF4-FFF2-40B4-BE49-F238E27FC236}">
                  <a16:creationId xmlns:a16="http://schemas.microsoft.com/office/drawing/2014/main" id="{1278366A-85FE-49D0-953D-137285A1CA21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4">
              <a:extLst>
                <a:ext uri="{FF2B5EF4-FFF2-40B4-BE49-F238E27FC236}">
                  <a16:creationId xmlns:a16="http://schemas.microsoft.com/office/drawing/2014/main" id="{3F0EFE70-7405-4CD0-BB8B-61FFC3FBB78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9CD899AB-EB02-4EB0-8646-E82A25EFD6C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doc id">
              <a:extLst>
                <a:ext uri="{FF2B5EF4-FFF2-40B4-BE49-F238E27FC236}">
                  <a16:creationId xmlns:a16="http://schemas.microsoft.com/office/drawing/2014/main" id="{BED65756-3D8B-422F-A124-251500423CE4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8469D5B-93E7-4CF1-9E2E-855DDAABA549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" name="Picture 12">
              <a:extLst>
                <a:ext uri="{FF2B5EF4-FFF2-40B4-BE49-F238E27FC236}">
                  <a16:creationId xmlns:a16="http://schemas.microsoft.com/office/drawing/2014/main" id="{C9778815-DD21-4210-A0D3-874C9A427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4671693-60A6-4BF0-8765-810461097C9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" name="Documenttype">
            <a:extLst>
              <a:ext uri="{FF2B5EF4-FFF2-40B4-BE49-F238E27FC236}">
                <a16:creationId xmlns:a16="http://schemas.microsoft.com/office/drawing/2014/main" id="{7590D73B-A6D0-4935-AD81-8142A8AFEE3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6208DDAD-6790-4DEE-BC4E-21410F90F089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776F6699-7A61-4508-8809-872D8E8E0EA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594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47804A5-610F-459E-875F-60857CBD6FA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9168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3E8FEB9C-6784-4537-A3A4-FBCC608D7F9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688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22CB34C-37DC-432E-A8CE-747AC8EF117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744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37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3FAD0D1-09DE-42C2-8479-DCB9493F9B46}"/>
              </a:ext>
            </a:extLst>
          </p:cNvPr>
          <p:cNvSpPr/>
          <p:nvPr userDrawn="1"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981030-DF6F-46EC-AA9C-451D8C63B1B3}"/>
              </a:ext>
            </a:extLst>
          </p:cNvPr>
          <p:cNvGrpSpPr/>
          <p:nvPr userDrawn="1"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FC204ED4-128C-4092-80A7-3BF276D6259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4" name="Freeform 32">
              <a:extLst>
                <a:ext uri="{FF2B5EF4-FFF2-40B4-BE49-F238E27FC236}">
                  <a16:creationId xmlns:a16="http://schemas.microsoft.com/office/drawing/2014/main" id="{EFBEB147-9868-41C2-BBAF-B359D1F2D31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5" name="Freeform 33">
              <a:extLst>
                <a:ext uri="{FF2B5EF4-FFF2-40B4-BE49-F238E27FC236}">
                  <a16:creationId xmlns:a16="http://schemas.microsoft.com/office/drawing/2014/main" id="{5EF34EEA-27D0-41C5-B8E1-AB97CA3246C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6" name="Freeform 34">
              <a:extLst>
                <a:ext uri="{FF2B5EF4-FFF2-40B4-BE49-F238E27FC236}">
                  <a16:creationId xmlns:a16="http://schemas.microsoft.com/office/drawing/2014/main" id="{305C7708-781D-4DCC-9792-C108E447517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7" name="Freeform 35">
              <a:extLst>
                <a:ext uri="{FF2B5EF4-FFF2-40B4-BE49-F238E27FC236}">
                  <a16:creationId xmlns:a16="http://schemas.microsoft.com/office/drawing/2014/main" id="{F277ACC7-F94B-4DA2-90B8-46FEF64AD18F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4055BC4-CE1F-4873-8D4F-3AC91BBB6FA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91CDB4B3-3114-44F6-AD2C-194A932AA26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D9BE897E-5FF0-45EC-8297-0A2EAA2F00C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377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DFDCB49-3E02-46A1-9353-B0FEEED3405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3471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50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CB87B95-6804-46D7-91D5-E78355EFE1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B455B60-8C61-4F71-BAFD-DC38773026DD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14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59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79EBDD9-E10C-4B21-9AF0-5A0E323D05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82FCC0-1920-4FD4-AC60-4462FFE896EA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37703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28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EC1EC4-B8BC-4D9A-B66A-A8C4493B6DB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0121B7-700B-4723-A9DC-53DBE1383A54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17265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66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514F2AC-E093-4146-9C34-6DE7921321F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AF7C2F-4368-40B9-82B5-5465B14FBC23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05060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10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0134ED8-19D3-4F7B-AD79-4BD4C826B6D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F8D81E-1CCF-4032-9BB6-A66BCE6600C8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35493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44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94E9BA4-7901-4294-9B46-C5E7BDEE1ED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6A5E6CC-C01A-4949-A946-485A1DCC437D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1958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36BD0A4-69D3-402B-A9A9-C50227B15FE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1200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1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9D1C680-B332-4717-977D-1F4D6460B15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879B5D1-5376-4043-A78C-D70F27A13A8E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23639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361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B06661-7315-4C49-A82C-EB1DA9CD3A2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683C08-95BA-49B7-B693-1FAC48CD08C5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44013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AF2C566-1236-45F8-A90D-7E5982706C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2FA8AF-2ABD-488A-8D9D-3A0D58F1B0F3}"/>
              </a:ext>
            </a:extLst>
          </p:cNvPr>
          <p:cNvPicPr>
            <a:picLocks/>
          </p:cNvPicPr>
          <p:nvPr userDrawn="1"/>
        </p:nvPicPr>
        <p:blipFill>
          <a:blip r:embed="rId10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E01716AD-1203-4184-94A0-0CD6A08E282A}"/>
              </a:ext>
            </a:extLst>
          </p:cNvPr>
          <p:cNvGrpSpPr/>
          <p:nvPr userDrawn="1"/>
        </p:nvGrpSpPr>
        <p:grpSpPr>
          <a:xfrm>
            <a:off x="554736" y="6368464"/>
            <a:ext cx="11082528" cy="54693"/>
            <a:chOff x="554736" y="6349068"/>
            <a:chExt cx="11082528" cy="54693"/>
          </a:xfrm>
          <a:solidFill>
            <a:schemeClr val="accent1"/>
          </a:solidFill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2EC46E7-358A-49D3-8CBE-A25AF24E6203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3992BA-FAB7-4AD0-97E5-5CEAA68609A1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3736874-4AD7-44F9-BFB4-D94B41E5B25B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41158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C5E0506A-BAD0-40D6-BEE9-78F4BA0D081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111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D8BB23-3428-4F39-9FE1-8D416950BD2A}"/>
              </a:ext>
            </a:extLst>
          </p:cNvPr>
          <p:cNvPicPr>
            <a:picLocks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042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59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0284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3447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D497A-70D3-4528-9C9A-4CE86D692B4B}" type="datetime1">
              <a:rPr lang="en-US" smtClean="0"/>
              <a:t>10/3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338365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2E7DB-DE05-4F94-BC95-B10E6C621DC8}" type="datetime1">
              <a:rPr lang="en-US" smtClean="0"/>
              <a:t>10/3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3075318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AD78D-093B-4BEC-90BA-4B8386AC99AD}" type="datetime1">
              <a:rPr lang="en-US" smtClean="0"/>
              <a:t>10/3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684734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0A6A7F9-7F25-47B4-9EFD-7399510D5D3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61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1578336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394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0718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2DC3B-555B-46D3-9C82-83C4B92E3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CCE22-1493-4319-81E7-7DF99C65F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42042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6506AC-8BF5-4F95-B0B8-D1B3810460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8289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6506AC-8BF5-4F95-B0B8-D1B3810460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3C4FD2-D3F0-4127-82F9-DB72DAD435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chemeClr val="tx1"/>
              </a:solidFill>
              <a:latin typeface="Arial Nova Light" panose="020B0304020202020204" pitchFamily="34" charset="0"/>
              <a:ea typeface="+mj-ea"/>
              <a:cs typeface="+mj-cs"/>
              <a:sym typeface="Arial Nova Light" panose="020B0304020202020204" pitchFamily="34" charset="0"/>
            </a:endParaRPr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6" y="6564117"/>
            <a:ext cx="158653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304516" y="147397"/>
            <a:ext cx="11582954" cy="314028"/>
          </a:xfrm>
        </p:spPr>
        <p:txBody>
          <a:bodyPr vert="horz"/>
          <a:lstStyle>
            <a:lvl1pPr>
              <a:defRPr sz="2041" b="0">
                <a:solidFill>
                  <a:schemeClr val="tx2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F855646-5681-4075-81F9-7EE31D7F86D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517" y="495481"/>
            <a:ext cx="11584586" cy="256260"/>
          </a:xfrm>
        </p:spPr>
        <p:txBody>
          <a:bodyPr/>
          <a:lstStyle>
            <a:lvl1pPr>
              <a:defRPr/>
            </a:lvl1pPr>
          </a:lstStyle>
          <a:p>
            <a:r>
              <a:rPr lang="en-US" sz="1632" kern="0">
                <a:solidFill>
                  <a:schemeClr val="tx1"/>
                </a:solidFill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792692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Reportaldemo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66530A-DD24-411A-B42E-46F1307F4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0"/>
          <a:ext cx="216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66530A-DD24-411A-B42E-46F1307F4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0"/>
                        <a:ext cx="216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6140CC-3B3E-495B-BCFB-3737404C7C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AA042958-2DF9-455C-86B5-C1A01632979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37021756-C5E9-4212-9D18-BC3FA12C2F2C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26130" y="613973"/>
            <a:ext cx="11402238" cy="5162792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14" name="Checkme">
            <a:extLst>
              <a:ext uri="{FF2B5EF4-FFF2-40B4-BE49-F238E27FC236}">
                <a16:creationId xmlns:a16="http://schemas.microsoft.com/office/drawing/2014/main" id="{593E23A0-F4B7-4FDA-9D94-D631957C75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36091" y="46896"/>
            <a:ext cx="3995607" cy="318146"/>
          </a:xfrm>
        </p:spPr>
        <p:txBody>
          <a:bodyPr/>
          <a:lstStyle>
            <a:lvl1pPr>
              <a:defRPr sz="1632"/>
            </a:lvl1pPr>
          </a:lstStyle>
          <a:p>
            <a:pPr lvl="0"/>
            <a:r>
              <a:rPr lang="en-US" sz="1837" err="1"/>
              <a:t>OutbyDemog</a:t>
            </a:r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0D7C842-1D94-49B9-9086-B789F32129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809" y="5929886"/>
            <a:ext cx="4157591" cy="281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04413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960606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1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512889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4522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E68F200-98BD-4196-9A6E-DA5F8EAF21DF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lide Number">
            <a:extLst>
              <a:ext uri="{FF2B5EF4-FFF2-40B4-BE49-F238E27FC236}">
                <a16:creationId xmlns:a16="http://schemas.microsoft.com/office/drawing/2014/main" id="{224BDBF2-7D42-4FBA-B4D2-F38435BF7B8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3991CDBB-090A-46BB-9168-BA7D4D993A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112D22-48BC-4CFF-B8B2-98DB8CEA6D53}"/>
              </a:ext>
            </a:extLst>
          </p:cNvPr>
          <p:cNvCxnSpPr/>
          <p:nvPr userDrawn="1"/>
        </p:nvCxnSpPr>
        <p:spPr bwMode="ltGray">
          <a:xfrm flipV="1">
            <a:off x="233263" y="6248688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D096888-0986-433D-A876-41F108CE93BD}"/>
              </a:ext>
            </a:extLst>
          </p:cNvPr>
          <p:cNvSpPr/>
          <p:nvPr userDrawn="1"/>
        </p:nvSpPr>
        <p:spPr bwMode="ltGray">
          <a:xfrm>
            <a:off x="10650379" y="6248684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F9E2FC7-9183-4B1A-AB5F-490BD9ECB3BF}"/>
              </a:ext>
            </a:extLst>
          </p:cNvPr>
          <p:cNvSpPr/>
          <p:nvPr userDrawn="1"/>
        </p:nvSpPr>
        <p:spPr bwMode="ltGray">
          <a:xfrm>
            <a:off x="233258" y="6257658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016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939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64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B0E45EA-7BE5-442F-9560-4747E835161F}"/>
              </a:ext>
            </a:extLst>
          </p:cNvPr>
          <p:cNvSpPr/>
          <p:nvPr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FE66A3-9B4F-48DD-973A-A48B59160229}"/>
              </a:ext>
            </a:extLst>
          </p:cNvPr>
          <p:cNvGrpSpPr/>
          <p:nvPr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0667E4D-EBC4-4CC1-9855-F12F3B69DC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909150F0-9D58-4AFD-98FE-1555B44A5F76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00B217CA-FF7A-4694-A075-3719822C89B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6E869E1F-0114-4B5B-BC21-BF57D030D68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17B1DBF2-4A23-4E11-BF69-602D78790FD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21E4B8CD-8C13-4621-8127-1565EDA886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12F0FC-3EBB-4F50-B895-1F89E7AEBAF7}"/>
              </a:ext>
            </a:extLst>
          </p:cNvPr>
          <p:cNvCxnSpPr/>
          <p:nvPr/>
        </p:nvCxnSpPr>
        <p:spPr bwMode="ltGray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3BB216A9-7249-4DED-83E2-F9EA93C1610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796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BCAF1-0DFA-4348-8905-15EC744D5BCC}" type="datetime1">
              <a:rPr lang="en-US" smtClean="0"/>
              <a:t>10/3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203386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54740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F5514-D660-4B1E-BA2F-9D326DCA87F5}" type="datetime1">
              <a:rPr lang="en-US" smtClean="0"/>
              <a:t>10/3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0113489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-Colour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PH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8200" y="1825625"/>
            <a:ext cx="10515600" cy="4013315"/>
          </a:xfr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838199" y="6299646"/>
            <a:ext cx="9930249" cy="25776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700" spc="0" baseline="0">
                <a:solidFill>
                  <a:srgbClr val="00B050"/>
                </a:solidFill>
                <a:latin typeface="Teshrin AR+LT Bold" panose="02000000000000000000" pitchFamily="50" charset="-78"/>
                <a:ea typeface="Teshrin AR+LT Bold" panose="02000000000000000000" pitchFamily="50" charset="-78"/>
                <a:cs typeface="Teshrin AR+LT Bold" panose="02000000000000000000" pitchFamily="50" charset="-7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 I </a:t>
            </a:r>
            <a:r>
              <a:rPr lang="ar-SA" sz="1200" b="1" dirty="0">
                <a:solidFill>
                  <a:srgbClr val="00B050"/>
                </a:solidFill>
                <a:latin typeface="HelveticaNeueLT Arabic 55 Roman" panose="020B0604020202020204" pitchFamily="34" charset="-78"/>
                <a:cs typeface="HelveticaNeueLT Arabic 55 Roman" panose="020B0604020202020204" pitchFamily="34" charset="-78"/>
              </a:rPr>
              <a:t>العوان</a:t>
            </a:r>
            <a:endParaRPr lang="en-PH" sz="1200" b="1" dirty="0">
              <a:solidFill>
                <a:srgbClr val="00B050"/>
              </a:solidFill>
              <a:latin typeface="HelveticaNeueLT Arabic 55 Roman" panose="020B0604020202020204" pitchFamily="34" charset="-78"/>
              <a:cs typeface="HelveticaNeueLT Arabic 55 Roman" panose="020B0604020202020204" pitchFamily="34" charset="-78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838200" y="6072704"/>
            <a:ext cx="9930249" cy="2188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700" spc="0" baseline="0">
                <a:solidFill>
                  <a:srgbClr val="112C45"/>
                </a:solidFill>
                <a:latin typeface="Teshrin AR+LT Bold" panose="02000000000000000000" pitchFamily="50" charset="-78"/>
                <a:ea typeface="Teshrin AR+LT Bold" panose="02000000000000000000" pitchFamily="50" charset="-78"/>
                <a:cs typeface="Teshrin AR+LT Bold" panose="02000000000000000000" pitchFamily="50" charset="-7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September 2019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968" y="5997701"/>
            <a:ext cx="1235180" cy="6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9941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3982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0282121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04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7996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371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070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51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8018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F410B2-D16A-4459-A59C-B8C755147317}" type="datetime1">
              <a:rPr lang="en-US" smtClean="0"/>
              <a:t>10/3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4072062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C6334AE-8D78-4A76-A627-5E9B347EF0C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6298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362630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2C375C-1FED-4E71-8F40-2826D292AA24}" type="datetime1">
              <a:rPr lang="en-US" smtClean="0"/>
              <a:t>10/3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0142559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477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7418564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204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48727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732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4274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4436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DF49A9-97BB-4220-9745-DCC80746B6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51F5D36-4311-42F7-8CE3-6E04971CAD67}"/>
              </a:ext>
            </a:extLst>
          </p:cNvPr>
          <p:cNvSpPr/>
          <p:nvPr userDrawn="1"/>
        </p:nvSpPr>
        <p:spPr>
          <a:xfrm>
            <a:off x="1170946" y="1289048"/>
            <a:ext cx="6894530" cy="4279901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8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2F8FE3-BE5B-470E-A445-C440629E4D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ltGray">
          <a:xfrm>
            <a:off x="243707" y="241358"/>
            <a:ext cx="2444154" cy="76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8222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1424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3057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574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2DC3B-555B-46D3-9C82-83C4B92E3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CCE22-1493-4319-81E7-7DF99C65F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477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6963FF-ADBA-477A-8328-4F16B44471E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89876-BA05-49A2-8294-D779E2868DC3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74308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77FF6-3A12-490D-911B-BB9D8DC3731D}" type="datetime1">
              <a:rPr lang="en-US" smtClean="0"/>
              <a:t>10/3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8711283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749392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18D565-88C0-4AA6-B6E6-6402D6232D8C}" type="datetime1">
              <a:rPr lang="en-US" smtClean="0"/>
              <a:t>10/3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8697982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8259569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1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3" y="542925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4"/>
            <a:ext cx="6027484" cy="4407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2864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371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9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2152317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162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62334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5124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6146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8" y="2578999"/>
            <a:ext cx="5853024" cy="979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24806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732532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 rot="5400000">
            <a:off x="5274348" y="-59653"/>
            <a:ext cx="6644930" cy="719037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2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0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2993759"/>
            <a:ext cx="4523581" cy="8740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4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289B8C-0888-4980-A80E-8295A6B9F249}"/>
              </a:ext>
            </a:extLst>
          </p:cNvPr>
          <p:cNvCxnSpPr/>
          <p:nvPr userDrawn="1"/>
        </p:nvCxnSpPr>
        <p:spPr bwMode="ltGray">
          <a:xfrm flipV="1">
            <a:off x="469537" y="934069"/>
            <a:ext cx="10966610" cy="26908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D66E2747-7733-4D64-B4ED-6606B428EA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0966610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76784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171854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1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3" y="542925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4"/>
            <a:ext cx="6027484" cy="4407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2864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371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9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5639298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9650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4455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3100D14-C052-4024-9A78-A97D42DA4F4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E8D274-5DB4-4546-BC58-171503D534AA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56494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383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591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8" y="2578999"/>
            <a:ext cx="5853024" cy="979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473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113718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 rot="5400000">
            <a:off x="5274348" y="-59653"/>
            <a:ext cx="6644930" cy="719037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2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0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2993759"/>
            <a:ext cx="4523581" cy="8740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4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289B8C-0888-4980-A80E-8295A6B9F249}"/>
              </a:ext>
            </a:extLst>
          </p:cNvPr>
          <p:cNvCxnSpPr/>
          <p:nvPr userDrawn="1"/>
        </p:nvCxnSpPr>
        <p:spPr bwMode="ltGray">
          <a:xfrm flipV="1">
            <a:off x="469537" y="934069"/>
            <a:ext cx="10966610" cy="26908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D66E2747-7733-4D64-B4ED-6606B428EA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0966610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862732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1910" b="1"/>
            </a:lvl1pPr>
            <a:lvl2pPr marL="363755" indent="0">
              <a:buNone/>
              <a:defRPr sz="1591" b="1"/>
            </a:lvl2pPr>
            <a:lvl3pPr marL="727510" indent="0">
              <a:buNone/>
              <a:defRPr sz="1432" b="1"/>
            </a:lvl3pPr>
            <a:lvl4pPr marL="1091265" indent="0">
              <a:buNone/>
              <a:defRPr sz="1273" b="1"/>
            </a:lvl4pPr>
            <a:lvl5pPr marL="1455020" indent="0">
              <a:buNone/>
              <a:defRPr sz="1273" b="1"/>
            </a:lvl5pPr>
            <a:lvl6pPr marL="1818775" indent="0">
              <a:buNone/>
              <a:defRPr sz="1273" b="1"/>
            </a:lvl6pPr>
            <a:lvl7pPr marL="2182529" indent="0">
              <a:buNone/>
              <a:defRPr sz="1273" b="1"/>
            </a:lvl7pPr>
            <a:lvl8pPr marL="2546285" indent="0">
              <a:buNone/>
              <a:defRPr sz="1273" b="1"/>
            </a:lvl8pPr>
            <a:lvl9pPr marL="2910039" indent="0">
              <a:buNone/>
              <a:defRPr sz="12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1910" b="1"/>
            </a:lvl1pPr>
            <a:lvl2pPr marL="363755" indent="0">
              <a:buNone/>
              <a:defRPr sz="1591" b="1"/>
            </a:lvl2pPr>
            <a:lvl3pPr marL="727510" indent="0">
              <a:buNone/>
              <a:defRPr sz="1432" b="1"/>
            </a:lvl3pPr>
            <a:lvl4pPr marL="1091265" indent="0">
              <a:buNone/>
              <a:defRPr sz="1273" b="1"/>
            </a:lvl4pPr>
            <a:lvl5pPr marL="1455020" indent="0">
              <a:buNone/>
              <a:defRPr sz="1273" b="1"/>
            </a:lvl5pPr>
            <a:lvl6pPr marL="1818775" indent="0">
              <a:buNone/>
              <a:defRPr sz="1273" b="1"/>
            </a:lvl6pPr>
            <a:lvl7pPr marL="2182529" indent="0">
              <a:buNone/>
              <a:defRPr sz="1273" b="1"/>
            </a:lvl7pPr>
            <a:lvl8pPr marL="2546285" indent="0">
              <a:buNone/>
              <a:defRPr sz="1273" b="1"/>
            </a:lvl8pPr>
            <a:lvl9pPr marL="2910039" indent="0">
              <a:buNone/>
              <a:defRPr sz="12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F3061AA9-A6A3-4CE1-A856-DD4F656C96FC">
            <a:extLst>
              <a:ext uri="{FF2B5EF4-FFF2-40B4-BE49-F238E27FC236}">
                <a16:creationId xmlns:a16="http://schemas.microsoft.com/office/drawing/2014/main" id="{8CCA7D17-01A1-4ABF-99C8-7197445977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7192" y="5862406"/>
            <a:ext cx="1631183" cy="99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9954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725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2306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89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76223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443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36BD0A4-69D3-402B-A9A9-C50227B15FE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4317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32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0A6A7F9-7F25-47B4-9EFD-7399510D5D3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2080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571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B0E45EA-7BE5-442F-9560-4747E835161F}"/>
              </a:ext>
            </a:extLst>
          </p:cNvPr>
          <p:cNvSpPr/>
          <p:nvPr userDrawn="1"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FE66A3-9B4F-48DD-973A-A48B59160229}"/>
              </a:ext>
            </a:extLst>
          </p:cNvPr>
          <p:cNvGrpSpPr/>
          <p:nvPr userDrawn="1"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0667E4D-EBC4-4CC1-9855-F12F3B69DC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909150F0-9D58-4AFD-98FE-1555B44A5F76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00B217CA-FF7A-4694-A075-3719822C89B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6E869E1F-0114-4B5B-BC21-BF57D030D68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17B1DBF2-4A23-4E11-BF69-602D78790FD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21E4B8CD-8C13-4621-8127-1565EDA8861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12F0FC-3EBB-4F50-B895-1F89E7AEBAF7}"/>
              </a:ext>
            </a:extLst>
          </p:cNvPr>
          <p:cNvCxnSpPr/>
          <p:nvPr userDrawn="1"/>
        </p:nvCxnSpPr>
        <p:spPr bwMode="ltGray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3BB216A9-7249-4DED-83E2-F9EA93C1610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2057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43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C6334AE-8D78-4A76-A627-5E9B347EF0C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178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5FD5F32-9469-4E0F-8535-8FE3B7C177A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84504E-EA4A-4DD1-83C0-AC293FB7F9A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765952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308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6963FF-ADBA-477A-8328-4F16B44471E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89876-BA05-49A2-8294-D779E2868DC3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64310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080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3100D14-C052-4024-9A78-A97D42DA4F4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E8D274-5DB4-4546-BC58-171503D534AA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46908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21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5FD5F32-9469-4E0F-8535-8FE3B7C177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84504E-EA4A-4DD1-83C0-AC293FB7F9A2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655622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91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169A25B-A5F4-4C97-8540-ED9CC98F969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CD6A66-48C6-4BD2-B9B9-41E1EE0976B5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13973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267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3CC0EF8-D168-4C66-AFFD-37DF3A91198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5B57B7-BC67-458E-B7B0-A0429154B7BF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5611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016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856B0F7-D900-4CD7-9173-6BCAEC340F0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03A2897-8F59-42BD-B6DD-251E725B958D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57F0324-A612-4AAB-9DC4-C7A748AF3DB1}"/>
              </a:ext>
            </a:extLst>
          </p:cNvPr>
          <p:cNvGrpSpPr/>
          <p:nvPr userDrawn="1"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8DE8D2-0E24-4923-8389-7500828D14BF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3C7CF2-784C-4329-9D05-25ECFF334BBF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09122C-351C-4F9A-98FA-AB182939F686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14760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604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185D4E6-1D08-404B-9627-E173C227EB7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74580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33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C41EC-7993-4253-98D7-CA91944B2598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34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ags" Target="../tags/tag130.xml"/><Relationship Id="rId39" Type="http://schemas.openxmlformats.org/officeDocument/2006/relationships/tags" Target="../tags/tag143.xml"/><Relationship Id="rId21" Type="http://schemas.openxmlformats.org/officeDocument/2006/relationships/slideLayout" Target="../slideLayouts/slideLayout38.xml"/><Relationship Id="rId34" Type="http://schemas.openxmlformats.org/officeDocument/2006/relationships/tags" Target="../tags/tag138.xml"/><Relationship Id="rId42" Type="http://schemas.openxmlformats.org/officeDocument/2006/relationships/tags" Target="../tags/tag146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tags" Target="../tags/tag1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128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oleObject" Target="../embeddings/oleObject18.bin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heme" Target="../theme/theme2.xml"/><Relationship Id="rId28" Type="http://schemas.openxmlformats.org/officeDocument/2006/relationships/tags" Target="../tags/tag132.xml"/><Relationship Id="rId36" Type="http://schemas.openxmlformats.org/officeDocument/2006/relationships/tags" Target="../tags/tag1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tags" Target="../tags/tag135.xml"/><Relationship Id="rId44" Type="http://schemas.openxmlformats.org/officeDocument/2006/relationships/tags" Target="../tags/tag1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tags" Target="../tags/tag131.xml"/><Relationship Id="rId30" Type="http://schemas.openxmlformats.org/officeDocument/2006/relationships/tags" Target="../tags/tag134.xml"/><Relationship Id="rId35" Type="http://schemas.openxmlformats.org/officeDocument/2006/relationships/tags" Target="../tags/tag139.xml"/><Relationship Id="rId43" Type="http://schemas.openxmlformats.org/officeDocument/2006/relationships/tags" Target="../tags/tag147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ags" Target="../tags/tag129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46" Type="http://schemas.openxmlformats.org/officeDocument/2006/relationships/image" Target="../media/image3.emf"/><Relationship Id="rId20" Type="http://schemas.openxmlformats.org/officeDocument/2006/relationships/slideLayout" Target="../slideLayouts/slideLayout37.xml"/><Relationship Id="rId41" Type="http://schemas.openxmlformats.org/officeDocument/2006/relationships/tags" Target="../tags/tag14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275.xml"/><Relationship Id="rId26" Type="http://schemas.openxmlformats.org/officeDocument/2006/relationships/tags" Target="../tags/tag283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78.xml"/><Relationship Id="rId34" Type="http://schemas.openxmlformats.org/officeDocument/2006/relationships/image" Target="../media/image9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274.xml"/><Relationship Id="rId25" Type="http://schemas.openxmlformats.org/officeDocument/2006/relationships/tags" Target="../tags/tag282.xml"/><Relationship Id="rId33" Type="http://schemas.openxmlformats.org/officeDocument/2006/relationships/oleObject" Target="../embeddings/oleObject37.bin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tags" Target="../tags/tag286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281.xml"/><Relationship Id="rId32" Type="http://schemas.openxmlformats.org/officeDocument/2006/relationships/tags" Target="../tags/tag289.xml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3.xml"/><Relationship Id="rId23" Type="http://schemas.openxmlformats.org/officeDocument/2006/relationships/tags" Target="../tags/tag280.xml"/><Relationship Id="rId28" Type="http://schemas.openxmlformats.org/officeDocument/2006/relationships/tags" Target="../tags/tag285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76.xml"/><Relationship Id="rId31" Type="http://schemas.openxmlformats.org/officeDocument/2006/relationships/tags" Target="../tags/tag28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ags" Target="../tags/tag279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327.xml"/><Relationship Id="rId18" Type="http://schemas.openxmlformats.org/officeDocument/2006/relationships/tags" Target="../tags/tag332.xml"/><Relationship Id="rId26" Type="http://schemas.openxmlformats.org/officeDocument/2006/relationships/tags" Target="../tags/tag340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35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326.xml"/><Relationship Id="rId17" Type="http://schemas.openxmlformats.org/officeDocument/2006/relationships/tags" Target="../tags/tag331.xml"/><Relationship Id="rId25" Type="http://schemas.openxmlformats.org/officeDocument/2006/relationships/tags" Target="../tags/tag339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30.xml"/><Relationship Id="rId20" Type="http://schemas.openxmlformats.org/officeDocument/2006/relationships/tags" Target="../tags/tag33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325.xml"/><Relationship Id="rId24" Type="http://schemas.openxmlformats.org/officeDocument/2006/relationships/tags" Target="../tags/tag338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329.xml"/><Relationship Id="rId23" Type="http://schemas.openxmlformats.org/officeDocument/2006/relationships/tags" Target="../tags/tag337.xml"/><Relationship Id="rId28" Type="http://schemas.openxmlformats.org/officeDocument/2006/relationships/image" Target="../media/image9.emf"/><Relationship Id="rId10" Type="http://schemas.openxmlformats.org/officeDocument/2006/relationships/tags" Target="../tags/tag324.xml"/><Relationship Id="rId19" Type="http://schemas.openxmlformats.org/officeDocument/2006/relationships/tags" Target="../tags/tag333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4.xml"/><Relationship Id="rId14" Type="http://schemas.openxmlformats.org/officeDocument/2006/relationships/tags" Target="../tags/tag328.xml"/><Relationship Id="rId22" Type="http://schemas.openxmlformats.org/officeDocument/2006/relationships/tags" Target="../tags/tag336.xml"/><Relationship Id="rId27" Type="http://schemas.openxmlformats.org/officeDocument/2006/relationships/oleObject" Target="../embeddings/oleObject46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tags" Target="../tags/tag364.xml"/><Relationship Id="rId18" Type="http://schemas.openxmlformats.org/officeDocument/2006/relationships/tags" Target="../tags/tag369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72.xml"/><Relationship Id="rId7" Type="http://schemas.openxmlformats.org/officeDocument/2006/relationships/tags" Target="../tags/tag358.xml"/><Relationship Id="rId12" Type="http://schemas.openxmlformats.org/officeDocument/2006/relationships/tags" Target="../tags/tag363.xml"/><Relationship Id="rId17" Type="http://schemas.openxmlformats.org/officeDocument/2006/relationships/tags" Target="../tags/tag368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67.xml"/><Relationship Id="rId20" Type="http://schemas.openxmlformats.org/officeDocument/2006/relationships/tags" Target="../tags/tag371.xml"/><Relationship Id="rId1" Type="http://schemas.openxmlformats.org/officeDocument/2006/relationships/slideLayout" Target="../slideLayouts/slideLayout62.x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24" Type="http://schemas.openxmlformats.org/officeDocument/2006/relationships/image" Target="../media/image9.emf"/><Relationship Id="rId5" Type="http://schemas.openxmlformats.org/officeDocument/2006/relationships/theme" Target="../theme/theme5.xml"/><Relationship Id="rId15" Type="http://schemas.openxmlformats.org/officeDocument/2006/relationships/tags" Target="../tags/tag366.xml"/><Relationship Id="rId23" Type="http://schemas.openxmlformats.org/officeDocument/2006/relationships/oleObject" Target="../embeddings/oleObject50.bin"/><Relationship Id="rId10" Type="http://schemas.openxmlformats.org/officeDocument/2006/relationships/tags" Target="../tags/tag361.xml"/><Relationship Id="rId19" Type="http://schemas.openxmlformats.org/officeDocument/2006/relationships/tags" Target="../tags/tag370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60.xml"/><Relationship Id="rId14" Type="http://schemas.openxmlformats.org/officeDocument/2006/relationships/tags" Target="../tags/tag365.xml"/><Relationship Id="rId22" Type="http://schemas.openxmlformats.org/officeDocument/2006/relationships/tags" Target="../tags/tag3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54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3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tags" Target="../tags/tag398.xml"/><Relationship Id="rId18" Type="http://schemas.openxmlformats.org/officeDocument/2006/relationships/tags" Target="../tags/tag40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406.xml"/><Relationship Id="rId7" Type="http://schemas.openxmlformats.org/officeDocument/2006/relationships/tags" Target="../tags/tag392.xml"/><Relationship Id="rId12" Type="http://schemas.openxmlformats.org/officeDocument/2006/relationships/tags" Target="../tags/tag397.xml"/><Relationship Id="rId17" Type="http://schemas.openxmlformats.org/officeDocument/2006/relationships/tags" Target="../tags/tag402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401.xml"/><Relationship Id="rId20" Type="http://schemas.openxmlformats.org/officeDocument/2006/relationships/tags" Target="../tags/tag405.xml"/><Relationship Id="rId1" Type="http://schemas.openxmlformats.org/officeDocument/2006/relationships/slideLayout" Target="../slideLayouts/slideLayout73.xml"/><Relationship Id="rId6" Type="http://schemas.openxmlformats.org/officeDocument/2006/relationships/theme" Target="../theme/theme7.xml"/><Relationship Id="rId11" Type="http://schemas.openxmlformats.org/officeDocument/2006/relationships/tags" Target="../tags/tag396.xml"/><Relationship Id="rId24" Type="http://schemas.openxmlformats.org/officeDocument/2006/relationships/oleObject" Target="../embeddings/oleObject56.bin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400.xml"/><Relationship Id="rId23" Type="http://schemas.openxmlformats.org/officeDocument/2006/relationships/tags" Target="../tags/tag408.xml"/><Relationship Id="rId10" Type="http://schemas.openxmlformats.org/officeDocument/2006/relationships/tags" Target="../tags/tag395.xml"/><Relationship Id="rId19" Type="http://schemas.openxmlformats.org/officeDocument/2006/relationships/tags" Target="../tags/tag404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394.xml"/><Relationship Id="rId14" Type="http://schemas.openxmlformats.org/officeDocument/2006/relationships/tags" Target="../tags/tag399.xml"/><Relationship Id="rId22" Type="http://schemas.openxmlformats.org/officeDocument/2006/relationships/tags" Target="../tags/tag40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13" Type="http://schemas.openxmlformats.org/officeDocument/2006/relationships/tags" Target="../tags/tag420.xml"/><Relationship Id="rId18" Type="http://schemas.openxmlformats.org/officeDocument/2006/relationships/tags" Target="../tags/tag425.xml"/><Relationship Id="rId26" Type="http://schemas.openxmlformats.org/officeDocument/2006/relationships/image" Target="../media/image9.emf"/><Relationship Id="rId3" Type="http://schemas.openxmlformats.org/officeDocument/2006/relationships/slideLayout" Target="../slideLayouts/slideLayout80.xml"/><Relationship Id="rId21" Type="http://schemas.openxmlformats.org/officeDocument/2006/relationships/tags" Target="../tags/tag428.xml"/><Relationship Id="rId7" Type="http://schemas.openxmlformats.org/officeDocument/2006/relationships/theme" Target="../theme/theme8.xml"/><Relationship Id="rId12" Type="http://schemas.openxmlformats.org/officeDocument/2006/relationships/tags" Target="../tags/tag419.xml"/><Relationship Id="rId17" Type="http://schemas.openxmlformats.org/officeDocument/2006/relationships/tags" Target="../tags/tag424.xml"/><Relationship Id="rId25" Type="http://schemas.openxmlformats.org/officeDocument/2006/relationships/oleObject" Target="../embeddings/oleObject61.bin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423.xml"/><Relationship Id="rId20" Type="http://schemas.openxmlformats.org/officeDocument/2006/relationships/tags" Target="../tags/tag42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418.xml"/><Relationship Id="rId24" Type="http://schemas.openxmlformats.org/officeDocument/2006/relationships/tags" Target="../tags/tag431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422.xml"/><Relationship Id="rId23" Type="http://schemas.openxmlformats.org/officeDocument/2006/relationships/tags" Target="../tags/tag430.xml"/><Relationship Id="rId10" Type="http://schemas.openxmlformats.org/officeDocument/2006/relationships/tags" Target="../tags/tag417.xml"/><Relationship Id="rId19" Type="http://schemas.openxmlformats.org/officeDocument/2006/relationships/tags" Target="../tags/tag426.xml"/><Relationship Id="rId4" Type="http://schemas.openxmlformats.org/officeDocument/2006/relationships/slideLayout" Target="../slideLayouts/slideLayout81.xml"/><Relationship Id="rId9" Type="http://schemas.openxmlformats.org/officeDocument/2006/relationships/tags" Target="../tags/tag416.xml"/><Relationship Id="rId14" Type="http://schemas.openxmlformats.org/officeDocument/2006/relationships/tags" Target="../tags/tag421.xml"/><Relationship Id="rId22" Type="http://schemas.openxmlformats.org/officeDocument/2006/relationships/tags" Target="../tags/tag429.xml"/><Relationship Id="rId27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tags" Target="../tags/tag440.xml"/><Relationship Id="rId26" Type="http://schemas.openxmlformats.org/officeDocument/2006/relationships/tags" Target="../tags/tag448.xml"/><Relationship Id="rId21" Type="http://schemas.openxmlformats.org/officeDocument/2006/relationships/tags" Target="../tags/tag443.xml"/><Relationship Id="rId34" Type="http://schemas.openxmlformats.org/officeDocument/2006/relationships/tags" Target="../tags/tag45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ags" Target="../tags/tag439.xml"/><Relationship Id="rId25" Type="http://schemas.openxmlformats.org/officeDocument/2006/relationships/tags" Target="../tags/tag447.xml"/><Relationship Id="rId33" Type="http://schemas.openxmlformats.org/officeDocument/2006/relationships/tags" Target="../tags/tag455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438.xml"/><Relationship Id="rId20" Type="http://schemas.openxmlformats.org/officeDocument/2006/relationships/tags" Target="../tags/tag442.xml"/><Relationship Id="rId29" Type="http://schemas.openxmlformats.org/officeDocument/2006/relationships/tags" Target="../tags/tag451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tags" Target="../tags/tag446.xml"/><Relationship Id="rId32" Type="http://schemas.openxmlformats.org/officeDocument/2006/relationships/tags" Target="../tags/tag45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9.xml"/><Relationship Id="rId23" Type="http://schemas.openxmlformats.org/officeDocument/2006/relationships/tags" Target="../tags/tag445.xml"/><Relationship Id="rId28" Type="http://schemas.openxmlformats.org/officeDocument/2006/relationships/tags" Target="../tags/tag450.xml"/><Relationship Id="rId36" Type="http://schemas.openxmlformats.org/officeDocument/2006/relationships/oleObject" Target="../embeddings/oleObject66.bin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441.xml"/><Relationship Id="rId31" Type="http://schemas.openxmlformats.org/officeDocument/2006/relationships/tags" Target="../tags/tag45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ags" Target="../tags/tag444.xml"/><Relationship Id="rId27" Type="http://schemas.openxmlformats.org/officeDocument/2006/relationships/tags" Target="../tags/tag449.xml"/><Relationship Id="rId30" Type="http://schemas.openxmlformats.org/officeDocument/2006/relationships/tags" Target="../tags/tag452.xml"/><Relationship Id="rId35" Type="http://schemas.openxmlformats.org/officeDocument/2006/relationships/tags" Target="../tags/tag457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2037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1646241"/>
            <a:ext cx="476201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4" name="LegendLines" hidden="1">
            <a:extLst>
              <a:ext uri="{FF2B5EF4-FFF2-40B4-BE49-F238E27FC236}">
                <a16:creationId xmlns:a16="http://schemas.microsoft.com/office/drawing/2014/main" id="{E5A3A058-6B69-4312-AF71-61B1CC1967FA}"/>
              </a:ext>
            </a:extLst>
          </p:cNvPr>
          <p:cNvGrpSpPr/>
          <p:nvPr/>
        </p:nvGrpSpPr>
        <p:grpSpPr>
          <a:xfrm>
            <a:off x="10398782" y="3150223"/>
            <a:ext cx="1251160" cy="958286"/>
            <a:chOff x="10162879" y="3243772"/>
            <a:chExt cx="1251160" cy="958286"/>
          </a:xfrm>
        </p:grpSpPr>
        <p:sp>
          <p:nvSpPr>
            <p:cNvPr id="155" name="Legend1" hidden="1">
              <a:extLst>
                <a:ext uri="{FF2B5EF4-FFF2-40B4-BE49-F238E27FC236}">
                  <a16:creationId xmlns:a16="http://schemas.microsoft.com/office/drawing/2014/main" id="{B1483347-D2CB-45E0-9695-BBA35B33DCFC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2" hidden="1">
              <a:extLst>
                <a:ext uri="{FF2B5EF4-FFF2-40B4-BE49-F238E27FC236}">
                  <a16:creationId xmlns:a16="http://schemas.microsoft.com/office/drawing/2014/main" id="{74639385-1E48-4018-A994-9AC18FC989D1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3" hidden="1">
              <a:extLst>
                <a:ext uri="{FF2B5EF4-FFF2-40B4-BE49-F238E27FC236}">
                  <a16:creationId xmlns:a16="http://schemas.microsoft.com/office/drawing/2014/main" id="{7B527157-F5B7-4231-9280-9C00C99F750A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ineLegend3" hidden="1">
              <a:extLst>
                <a:ext uri="{FF2B5EF4-FFF2-40B4-BE49-F238E27FC236}">
                  <a16:creationId xmlns:a16="http://schemas.microsoft.com/office/drawing/2014/main" id="{CFC4A46B-4B4C-4E18-8C29-56ED1CA8C9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9" name="LineLegend2" hidden="1">
              <a:extLst>
                <a:ext uri="{FF2B5EF4-FFF2-40B4-BE49-F238E27FC236}">
                  <a16:creationId xmlns:a16="http://schemas.microsoft.com/office/drawing/2014/main" id="{299E6BB7-7600-46F2-A0DA-ADCB38112B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60" name="LineLegend1" hidden="1">
              <a:extLst>
                <a:ext uri="{FF2B5EF4-FFF2-40B4-BE49-F238E27FC236}">
                  <a16:creationId xmlns:a16="http://schemas.microsoft.com/office/drawing/2014/main" id="{3DAD72C9-4400-4CA3-91AC-3D74AFB20B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61" name="LegendMoons" hidden="1">
            <a:extLst>
              <a:ext uri="{FF2B5EF4-FFF2-40B4-BE49-F238E27FC236}">
                <a16:creationId xmlns:a16="http://schemas.microsoft.com/office/drawing/2014/main" id="{B0D16645-DEE1-4F0A-B841-F0821AA8B01C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23680" y="1702457"/>
            <a:chExt cx="880149" cy="1731859"/>
          </a:xfrm>
        </p:grpSpPr>
        <p:sp>
          <p:nvSpPr>
            <p:cNvPr id="162" name="Legend1" hidden="1">
              <a:extLst>
                <a:ext uri="{FF2B5EF4-FFF2-40B4-BE49-F238E27FC236}">
                  <a16:creationId xmlns:a16="http://schemas.microsoft.com/office/drawing/2014/main" id="{D5B6618B-0438-43C0-8BA2-9D42FD270E47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2" hidden="1">
              <a:extLst>
                <a:ext uri="{FF2B5EF4-FFF2-40B4-BE49-F238E27FC236}">
                  <a16:creationId xmlns:a16="http://schemas.microsoft.com/office/drawing/2014/main" id="{C6D9E259-1A28-4D00-BB3C-19F46D2232FD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3" hidden="1">
              <a:extLst>
                <a:ext uri="{FF2B5EF4-FFF2-40B4-BE49-F238E27FC236}">
                  <a16:creationId xmlns:a16="http://schemas.microsoft.com/office/drawing/2014/main" id="{3189FEC7-CC51-4CAE-A6C6-FEA94E439F34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4" hidden="1">
              <a:extLst>
                <a:ext uri="{FF2B5EF4-FFF2-40B4-BE49-F238E27FC236}">
                  <a16:creationId xmlns:a16="http://schemas.microsoft.com/office/drawing/2014/main" id="{21BBB0F4-4F3A-484D-8E0B-EBB347B64AF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5" hidden="1">
              <a:extLst>
                <a:ext uri="{FF2B5EF4-FFF2-40B4-BE49-F238E27FC236}">
                  <a16:creationId xmlns:a16="http://schemas.microsoft.com/office/drawing/2014/main" id="{771E2F80-1473-47C1-82BE-1713554C2FF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7" name="MoonLegend1" hidden="1">
              <a:extLst>
                <a:ext uri="{FF2B5EF4-FFF2-40B4-BE49-F238E27FC236}">
                  <a16:creationId xmlns:a16="http://schemas.microsoft.com/office/drawing/2014/main" id="{257648F1-4AEE-48B7-AFF5-A8DEC128298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1" name="Oval 190" hidden="1">
                <a:extLst>
                  <a:ext uri="{FF2B5EF4-FFF2-40B4-BE49-F238E27FC236}">
                    <a16:creationId xmlns:a16="http://schemas.microsoft.com/office/drawing/2014/main" id="{DE0AC04E-3843-461E-85BB-02189C02D0E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 hidden="1">
                <a:extLst>
                  <a:ext uri="{FF2B5EF4-FFF2-40B4-BE49-F238E27FC236}">
                    <a16:creationId xmlns:a16="http://schemas.microsoft.com/office/drawing/2014/main" id="{E6456482-4CF3-4836-AD30-886DEF50722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2" hidden="1">
              <a:extLst>
                <a:ext uri="{FF2B5EF4-FFF2-40B4-BE49-F238E27FC236}">
                  <a16:creationId xmlns:a16="http://schemas.microsoft.com/office/drawing/2014/main" id="{F97812AB-8645-4B75-86C0-6BCF902FD82F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9" name="Oval 188" hidden="1">
                <a:extLst>
                  <a:ext uri="{FF2B5EF4-FFF2-40B4-BE49-F238E27FC236}">
                    <a16:creationId xmlns:a16="http://schemas.microsoft.com/office/drawing/2014/main" id="{8D1BABEF-D16B-415A-811D-7E8ACD1CF32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Arc 189" hidden="1">
                <a:extLst>
                  <a:ext uri="{FF2B5EF4-FFF2-40B4-BE49-F238E27FC236}">
                    <a16:creationId xmlns:a16="http://schemas.microsoft.com/office/drawing/2014/main" id="{B451E5A3-4CB0-48E0-8165-36259B3A119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3" hidden="1">
              <a:extLst>
                <a:ext uri="{FF2B5EF4-FFF2-40B4-BE49-F238E27FC236}">
                  <a16:creationId xmlns:a16="http://schemas.microsoft.com/office/drawing/2014/main" id="{CCA1B5A0-01FC-4D63-A5BA-8FF1905A5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148EF22F-929B-4D1E-BAD3-4F8E0AB9B89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FC3514F6-8FFF-446A-B0F0-157469FC9A2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4" hidden="1">
              <a:extLst>
                <a:ext uri="{FF2B5EF4-FFF2-40B4-BE49-F238E27FC236}">
                  <a16:creationId xmlns:a16="http://schemas.microsoft.com/office/drawing/2014/main" id="{1FEB0E84-C05F-4893-810F-76988B25734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C1A3C7B0-C48D-4DBA-808D-EFE7D16D82F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4920167-749D-43A3-ACDA-7A2D6395ED6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1" name="MoonLegend5" hidden="1">
              <a:extLst>
                <a:ext uri="{FF2B5EF4-FFF2-40B4-BE49-F238E27FC236}">
                  <a16:creationId xmlns:a16="http://schemas.microsoft.com/office/drawing/2014/main" id="{E0698A10-4500-4D0E-9EC6-A3BD37BE7A9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22BACCB4-258E-43DE-98CC-C8F5A047906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93EEF3B-F6E4-4786-8B6F-C138E7A9652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3" name="LegendBoxes" hidden="1">
            <a:extLst>
              <a:ext uri="{FF2B5EF4-FFF2-40B4-BE49-F238E27FC236}">
                <a16:creationId xmlns:a16="http://schemas.microsoft.com/office/drawing/2014/main" id="{8B383AE1-3237-4072-A4A6-78EF864F79A4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652400" y="4322824"/>
            <a:chExt cx="853663" cy="1717282"/>
          </a:xfrm>
        </p:grpSpPr>
        <p:sp>
          <p:nvSpPr>
            <p:cNvPr id="194" name="RectangleLegend1" hidden="1">
              <a:extLst>
                <a:ext uri="{FF2B5EF4-FFF2-40B4-BE49-F238E27FC236}">
                  <a16:creationId xmlns:a16="http://schemas.microsoft.com/office/drawing/2014/main" id="{0EA23167-681D-4989-BC18-D73BAB2B2AB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2" hidden="1">
              <a:extLst>
                <a:ext uri="{FF2B5EF4-FFF2-40B4-BE49-F238E27FC236}">
                  <a16:creationId xmlns:a16="http://schemas.microsoft.com/office/drawing/2014/main" id="{85899BF4-99D2-4E2D-B434-476BCD53AD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3" hidden="1">
              <a:extLst>
                <a:ext uri="{FF2B5EF4-FFF2-40B4-BE49-F238E27FC236}">
                  <a16:creationId xmlns:a16="http://schemas.microsoft.com/office/drawing/2014/main" id="{0B167C30-E7EC-419A-B900-3B3C139473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4" hidden="1">
              <a:extLst>
                <a:ext uri="{FF2B5EF4-FFF2-40B4-BE49-F238E27FC236}">
                  <a16:creationId xmlns:a16="http://schemas.microsoft.com/office/drawing/2014/main" id="{AB8928CE-7CCC-4607-AA2B-308D14F776C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7" name="RectangleLegend5" hidden="1">
              <a:extLst>
                <a:ext uri="{FF2B5EF4-FFF2-40B4-BE49-F238E27FC236}">
                  <a16:creationId xmlns:a16="http://schemas.microsoft.com/office/drawing/2014/main" id="{5609DB1D-49A1-469C-B440-180799199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8" name="Legend1" hidden="1">
              <a:extLst>
                <a:ext uri="{FF2B5EF4-FFF2-40B4-BE49-F238E27FC236}">
                  <a16:creationId xmlns:a16="http://schemas.microsoft.com/office/drawing/2014/main" id="{C19D4B62-94C4-4A66-8EAE-32DA3026EC9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2" hidden="1">
              <a:extLst>
                <a:ext uri="{FF2B5EF4-FFF2-40B4-BE49-F238E27FC236}">
                  <a16:creationId xmlns:a16="http://schemas.microsoft.com/office/drawing/2014/main" id="{430CE5FC-9225-4C54-87D2-42C918FC9E0E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3" hidden="1">
              <a:extLst>
                <a:ext uri="{FF2B5EF4-FFF2-40B4-BE49-F238E27FC236}">
                  <a16:creationId xmlns:a16="http://schemas.microsoft.com/office/drawing/2014/main" id="{2F383794-289F-4C43-8E59-C7B62CE7627E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4" hidden="1">
              <a:extLst>
                <a:ext uri="{FF2B5EF4-FFF2-40B4-BE49-F238E27FC236}">
                  <a16:creationId xmlns:a16="http://schemas.microsoft.com/office/drawing/2014/main" id="{FF3D5E8A-C4CA-410D-A740-D54C4CF4889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2" name="Legend5" hidden="1">
              <a:extLst>
                <a:ext uri="{FF2B5EF4-FFF2-40B4-BE49-F238E27FC236}">
                  <a16:creationId xmlns:a16="http://schemas.microsoft.com/office/drawing/2014/main" id="{D48CF223-4C15-47D6-AF1A-6CDC04B4C1F8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DC939171-6E8C-4D80-A238-095B81711D68}"/>
              </a:ext>
            </a:extLst>
          </p:cNvPr>
          <p:cNvPicPr>
            <a:picLocks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1CDD93D-7B95-47D6-B3F8-1CC7258B1D37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D712AA2-F213-4DA0-A97B-22A6B333B296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263DFF2-9F58-4ECB-B41E-6B47E8753649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148BDD5-08D6-47E3-92F7-471A9F316451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647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66" r:id="rId16"/>
    <p:sldLayoutId id="2147483667" r:id="rId1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7003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646241"/>
            <a:ext cx="4380112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9" name="LegendBoxes" hidden="1">
            <a:extLst>
              <a:ext uri="{FF2B5EF4-FFF2-40B4-BE49-F238E27FC236}">
                <a16:creationId xmlns:a16="http://schemas.microsoft.com/office/drawing/2014/main" id="{336CF73D-9EAC-4C82-AD58-75B535DC99C3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554770" y="4322824"/>
            <a:chExt cx="853663" cy="1717282"/>
          </a:xfrm>
        </p:grpSpPr>
        <p:sp>
          <p:nvSpPr>
            <p:cNvPr id="173" name="RectangleLegend1" hidden="1">
              <a:extLst>
                <a:ext uri="{FF2B5EF4-FFF2-40B4-BE49-F238E27FC236}">
                  <a16:creationId xmlns:a16="http://schemas.microsoft.com/office/drawing/2014/main" id="{AA5104CD-50B9-4BE6-8443-27997BD1F1D2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4" name="RectangleLegend2" hidden="1">
              <a:extLst>
                <a:ext uri="{FF2B5EF4-FFF2-40B4-BE49-F238E27FC236}">
                  <a16:creationId xmlns:a16="http://schemas.microsoft.com/office/drawing/2014/main" id="{E3E9EF4F-BA87-4696-BE55-DA11A7F483A7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5" name="RectangleLegend3" hidden="1">
              <a:extLst>
                <a:ext uri="{FF2B5EF4-FFF2-40B4-BE49-F238E27FC236}">
                  <a16:creationId xmlns:a16="http://schemas.microsoft.com/office/drawing/2014/main" id="{5FA551E2-2E6B-4135-BA35-83381928274A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7" name="RectangleLegend4" hidden="1">
              <a:extLst>
                <a:ext uri="{FF2B5EF4-FFF2-40B4-BE49-F238E27FC236}">
                  <a16:creationId xmlns:a16="http://schemas.microsoft.com/office/drawing/2014/main" id="{7E97B814-5DB9-461D-93D9-AEAE6BFED3C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8" name="RectangleLegend5" hidden="1">
              <a:extLst>
                <a:ext uri="{FF2B5EF4-FFF2-40B4-BE49-F238E27FC236}">
                  <a16:creationId xmlns:a16="http://schemas.microsoft.com/office/drawing/2014/main" id="{042935EC-D202-4B62-80EA-47DDDC150C3B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9" name="Legend1" hidden="1">
              <a:extLst>
                <a:ext uri="{FF2B5EF4-FFF2-40B4-BE49-F238E27FC236}">
                  <a16:creationId xmlns:a16="http://schemas.microsoft.com/office/drawing/2014/main" id="{70C00A86-5BCD-4D56-8A52-E5BFF4610EED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0" name="Legend2" hidden="1">
              <a:extLst>
                <a:ext uri="{FF2B5EF4-FFF2-40B4-BE49-F238E27FC236}">
                  <a16:creationId xmlns:a16="http://schemas.microsoft.com/office/drawing/2014/main" id="{C3BD56F4-BE7A-4411-96C7-17EDB0FAA98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3" hidden="1">
              <a:extLst>
                <a:ext uri="{FF2B5EF4-FFF2-40B4-BE49-F238E27FC236}">
                  <a16:creationId xmlns:a16="http://schemas.microsoft.com/office/drawing/2014/main" id="{66069E57-314F-4621-8C4F-22B7F692D52F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4" hidden="1">
              <a:extLst>
                <a:ext uri="{FF2B5EF4-FFF2-40B4-BE49-F238E27FC236}">
                  <a16:creationId xmlns:a16="http://schemas.microsoft.com/office/drawing/2014/main" id="{CAC0FB10-E1AD-4DED-A5AE-63C68ACCA51C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egend5" hidden="1">
              <a:extLst>
                <a:ext uri="{FF2B5EF4-FFF2-40B4-BE49-F238E27FC236}">
                  <a16:creationId xmlns:a16="http://schemas.microsoft.com/office/drawing/2014/main" id="{06570D92-C22D-4A0D-9744-8B3238FDC07B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84" name="LegendLines" hidden="1">
            <a:extLst>
              <a:ext uri="{FF2B5EF4-FFF2-40B4-BE49-F238E27FC236}">
                <a16:creationId xmlns:a16="http://schemas.microsoft.com/office/drawing/2014/main" id="{34D5A2B5-208E-4F7E-9894-D28B0349589C}"/>
              </a:ext>
            </a:extLst>
          </p:cNvPr>
          <p:cNvGrpSpPr/>
          <p:nvPr/>
        </p:nvGrpSpPr>
        <p:grpSpPr>
          <a:xfrm>
            <a:off x="10398782" y="3150831"/>
            <a:ext cx="1251160" cy="958286"/>
            <a:chOff x="10162879" y="3243772"/>
            <a:chExt cx="1251160" cy="958286"/>
          </a:xfrm>
        </p:grpSpPr>
        <p:sp>
          <p:nvSpPr>
            <p:cNvPr id="185" name="Legend1" hidden="1">
              <a:extLst>
                <a:ext uri="{FF2B5EF4-FFF2-40B4-BE49-F238E27FC236}">
                  <a16:creationId xmlns:a16="http://schemas.microsoft.com/office/drawing/2014/main" id="{3BDF2997-A746-4065-A335-1EC2B713EC45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27FC6EC-32D9-4B92-A010-9684C50541D4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7" name="Legend3" hidden="1">
              <a:extLst>
                <a:ext uri="{FF2B5EF4-FFF2-40B4-BE49-F238E27FC236}">
                  <a16:creationId xmlns:a16="http://schemas.microsoft.com/office/drawing/2014/main" id="{FD789B3D-964F-4D5A-86F3-7CAE2494B254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8" name="LineLegend3" hidden="1">
              <a:extLst>
                <a:ext uri="{FF2B5EF4-FFF2-40B4-BE49-F238E27FC236}">
                  <a16:creationId xmlns:a16="http://schemas.microsoft.com/office/drawing/2014/main" id="{976FF6AB-E20C-4F87-BD90-25A5400953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9" name="LineLegend2" hidden="1">
              <a:extLst>
                <a:ext uri="{FF2B5EF4-FFF2-40B4-BE49-F238E27FC236}">
                  <a16:creationId xmlns:a16="http://schemas.microsoft.com/office/drawing/2014/main" id="{49D21340-396F-48FD-BAF7-75D6845095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90" name="LineLegend1" hidden="1">
              <a:extLst>
                <a:ext uri="{FF2B5EF4-FFF2-40B4-BE49-F238E27FC236}">
                  <a16:creationId xmlns:a16="http://schemas.microsoft.com/office/drawing/2014/main" id="{63956254-A8B3-4274-B7DF-E21E3D2437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91" name="LegendMoons" hidden="1">
            <a:extLst>
              <a:ext uri="{FF2B5EF4-FFF2-40B4-BE49-F238E27FC236}">
                <a16:creationId xmlns:a16="http://schemas.microsoft.com/office/drawing/2014/main" id="{5E2BE3E0-F201-4452-BDD9-2476EAADC002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16535" y="2630582"/>
            <a:chExt cx="880149" cy="1731859"/>
          </a:xfrm>
        </p:grpSpPr>
        <p:sp>
          <p:nvSpPr>
            <p:cNvPr id="192" name="Legend1" hidden="1">
              <a:extLst>
                <a:ext uri="{FF2B5EF4-FFF2-40B4-BE49-F238E27FC236}">
                  <a16:creationId xmlns:a16="http://schemas.microsoft.com/office/drawing/2014/main" id="{1275E184-31CD-4843-8D0B-0D16FAC758EE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2" hidden="1">
              <a:extLst>
                <a:ext uri="{FF2B5EF4-FFF2-40B4-BE49-F238E27FC236}">
                  <a16:creationId xmlns:a16="http://schemas.microsoft.com/office/drawing/2014/main" id="{A83DA2D0-FADB-4D27-BCCE-9C0A111EA84A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3" hidden="1">
              <a:extLst>
                <a:ext uri="{FF2B5EF4-FFF2-40B4-BE49-F238E27FC236}">
                  <a16:creationId xmlns:a16="http://schemas.microsoft.com/office/drawing/2014/main" id="{8A2D9901-F045-4DBC-950F-430313A8A38A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4" hidden="1">
              <a:extLst>
                <a:ext uri="{FF2B5EF4-FFF2-40B4-BE49-F238E27FC236}">
                  <a16:creationId xmlns:a16="http://schemas.microsoft.com/office/drawing/2014/main" id="{96D27194-105B-4B87-9475-7D68B31E119E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5" hidden="1">
              <a:extLst>
                <a:ext uri="{FF2B5EF4-FFF2-40B4-BE49-F238E27FC236}">
                  <a16:creationId xmlns:a16="http://schemas.microsoft.com/office/drawing/2014/main" id="{D610964F-6013-43D3-ADB7-719AF93C8180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97" name="MoonLegend1" hidden="1">
              <a:extLst>
                <a:ext uri="{FF2B5EF4-FFF2-40B4-BE49-F238E27FC236}">
                  <a16:creationId xmlns:a16="http://schemas.microsoft.com/office/drawing/2014/main" id="{77604726-049C-4EC7-9F31-4A923823836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8" name="Oval 227" hidden="1">
                <a:extLst>
                  <a:ext uri="{FF2B5EF4-FFF2-40B4-BE49-F238E27FC236}">
                    <a16:creationId xmlns:a16="http://schemas.microsoft.com/office/drawing/2014/main" id="{AC96FFDC-3A91-49F4-AED1-8F1D7AFADC8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Arc 228" hidden="1">
                <a:extLst>
                  <a:ext uri="{FF2B5EF4-FFF2-40B4-BE49-F238E27FC236}">
                    <a16:creationId xmlns:a16="http://schemas.microsoft.com/office/drawing/2014/main" id="{C34DC120-4E4A-45C0-9285-6E0C89255FB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8" name="MoonLegend2" hidden="1">
              <a:extLst>
                <a:ext uri="{FF2B5EF4-FFF2-40B4-BE49-F238E27FC236}">
                  <a16:creationId xmlns:a16="http://schemas.microsoft.com/office/drawing/2014/main" id="{D899F0C0-098A-4F1A-ADEA-212A76A1CEF5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6" name="Oval 225" hidden="1">
                <a:extLst>
                  <a:ext uri="{FF2B5EF4-FFF2-40B4-BE49-F238E27FC236}">
                    <a16:creationId xmlns:a16="http://schemas.microsoft.com/office/drawing/2014/main" id="{4F194C43-1FB0-4C74-8381-C17A3CB1F3B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7" name="Arc 226" hidden="1">
                <a:extLst>
                  <a:ext uri="{FF2B5EF4-FFF2-40B4-BE49-F238E27FC236}">
                    <a16:creationId xmlns:a16="http://schemas.microsoft.com/office/drawing/2014/main" id="{EC193FEE-8592-4349-ADAB-3DBB6D4929E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9" name="MoonLegend3" hidden="1">
              <a:extLst>
                <a:ext uri="{FF2B5EF4-FFF2-40B4-BE49-F238E27FC236}">
                  <a16:creationId xmlns:a16="http://schemas.microsoft.com/office/drawing/2014/main" id="{47B05558-F119-4B9E-A39E-3F2C87CA5CE4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89D0E997-1ACF-4F07-98C8-AAB97925193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0EE7967E-AA23-4D95-813C-5D762562F98E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0" name="MoonLegend4" hidden="1">
              <a:extLst>
                <a:ext uri="{FF2B5EF4-FFF2-40B4-BE49-F238E27FC236}">
                  <a16:creationId xmlns:a16="http://schemas.microsoft.com/office/drawing/2014/main" id="{A9A7FEE2-DE39-4796-853F-F0C545E65699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DBE84A29-DEA9-4004-AEB0-AE0022F7085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CC9C47BC-CBF9-48ED-8A45-1C0330BAB76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1" name="MoonLegend5" hidden="1">
              <a:extLst>
                <a:ext uri="{FF2B5EF4-FFF2-40B4-BE49-F238E27FC236}">
                  <a16:creationId xmlns:a16="http://schemas.microsoft.com/office/drawing/2014/main" id="{FEF6CE26-150D-4B22-9ED7-CC44BB86B87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02" name="Oval 201" hidden="1">
                <a:extLst>
                  <a:ext uri="{FF2B5EF4-FFF2-40B4-BE49-F238E27FC236}">
                    <a16:creationId xmlns:a16="http://schemas.microsoft.com/office/drawing/2014/main" id="{1EB555AF-AD78-4E43-A189-D3CD2615E66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Arc 202" hidden="1">
                <a:extLst>
                  <a:ext uri="{FF2B5EF4-FFF2-40B4-BE49-F238E27FC236}">
                    <a16:creationId xmlns:a16="http://schemas.microsoft.com/office/drawing/2014/main" id="{0EE81E0A-F565-4B8C-85A0-8E41337C01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id="{E3156152-E06E-43BF-A0F6-6417AC24061F}"/>
              </a:ext>
            </a:extLst>
          </p:cNvPr>
          <p:cNvPicPr>
            <a:picLocks/>
          </p:cNvPicPr>
          <p:nvPr/>
        </p:nvPicPr>
        <p:blipFill>
          <a:blip r:embed="rId4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7" name="Group 146">
            <a:extLst>
              <a:ext uri="{FF2B5EF4-FFF2-40B4-BE49-F238E27FC236}">
                <a16:creationId xmlns:a16="http://schemas.microsoft.com/office/drawing/2014/main" id="{526AB256-5CD5-4CA3-B576-569F716943D3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  <a:solidFill>
            <a:schemeClr val="accent1"/>
          </a:solidFill>
        </p:grpSpPr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80E5D51F-9DED-49A3-9245-E7989703E3C8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416E5CC-65D0-4640-A126-9E1DC1C3A90E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03A921A-FFDF-4D81-8EAF-2D168CA67FA8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978CEAD-523A-3B90-BDC2-CE3FDE2F2CB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16308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56" r:id="rId19"/>
    <p:sldLayoutId id="2147483757" r:id="rId20"/>
    <p:sldLayoutId id="2147483758" r:id="rId21"/>
    <p:sldLayoutId id="2147483759" r:id="rId2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74E10C6-72CA-67A4-6623-4DFF02EB7E4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832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60" r:id="rId10"/>
    <p:sldLayoutId id="2147483761" r:id="rId11"/>
    <p:sldLayoutId id="2147483762" r:id="rId12"/>
    <p:sldLayoutId id="2147483763" r:id="rId13"/>
    <p:sldLayoutId id="2147483775" r:id="rId1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6313039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9D1712C-AA53-C293-3E41-2B1F311FD0F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3240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64" r:id="rId5"/>
    <p:sldLayoutId id="2147483765" r:id="rId6"/>
    <p:sldLayoutId id="2147483766" r:id="rId7"/>
    <p:sldLayoutId id="2147483767" r:id="rId8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8116358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02120569-B7E7-00D1-C380-F0108F00D69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2340737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5883673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hape 8">
            <a:extLst>
              <a:ext uri="{FF2B5EF4-FFF2-40B4-BE49-F238E27FC236}">
                <a16:creationId xmlns:a16="http://schemas.microsoft.com/office/drawing/2014/main" id="{EC0578FA-3510-4363-8FE4-202845F58166}"/>
              </a:ext>
            </a:extLst>
          </p:cNvPr>
          <p:cNvSpPr txBox="1">
            <a:spLocks/>
          </p:cNvSpPr>
          <p:nvPr/>
        </p:nvSpPr>
        <p:spPr>
          <a:xfrm>
            <a:off x="11585691" y="6507671"/>
            <a:ext cx="153888" cy="15068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79" smtClean="0">
                <a:solidFill>
                  <a:srgbClr val="003087"/>
                </a:solidFill>
                <a:latin typeface="Arial" panose="020B0604020202020204" pitchFamily="34" charset="0"/>
                <a:ea typeface="Univers for KPMG"/>
                <a:cs typeface="Arial" panose="020B0604020202020204" pitchFamily="34" charset="0"/>
              </a:rPr>
              <a:pPr algn="r"/>
              <a:t>‹#›</a:t>
            </a:fld>
            <a:endParaRPr lang="en-US" sz="979">
              <a:solidFill>
                <a:srgbClr val="003087"/>
              </a:solidFill>
              <a:latin typeface="Arial" panose="020B0604020202020204" pitchFamily="34" charset="0"/>
              <a:ea typeface="Univers for KPMG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4536DA-8F10-D8CE-3D0B-BA130B87505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148967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68" r:id="rId3"/>
    <p:sldLayoutId id="2147483769" r:id="rId4"/>
    <p:sldLayoutId id="2147483770" r:id="rId5"/>
    <p:sldLayoutId id="2147483771" r:id="rId6"/>
    <p:sldLayoutId id="2147483772" r:id="rId7"/>
  </p:sldLayoutIdLst>
  <p:hf sldNum="0" hdr="0" ftr="0" dt="0"/>
  <p:txStyles>
    <p:titleStyle>
      <a:lvl1pPr algn="l" eaLnBrk="1" hangingPunct="1">
        <a:lnSpc>
          <a:spcPct val="100000"/>
        </a:lnSpc>
        <a:defRPr sz="5287" b="0" i="0">
          <a:solidFill>
            <a:srgbClr val="00338D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37"/>
        </a:spcAft>
        <a:defRPr sz="1469" b="1" i="0">
          <a:solidFill>
            <a:srgbClr val="003087"/>
          </a:solidFill>
          <a:latin typeface="Univers for KPMG" panose="020B0603020202020204" pitchFamily="34" charset="0"/>
          <a:cs typeface="Univers for KPMG" panose="020B0603020202020204" pitchFamily="34" charset="0"/>
        </a:defRPr>
      </a:lvl1pPr>
      <a:lvl2pPr marL="0" indent="0" eaLnBrk="1" hangingPunct="1">
        <a:spcAft>
          <a:spcPts val="588"/>
        </a:spcAft>
        <a:buFont typeface="Univers for KPMG"/>
        <a:buNone/>
        <a:defRPr sz="1469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2pPr>
      <a:lvl3pPr marL="301551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sz="1469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3pPr>
      <a:lvl4pPr marL="610874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sz="1469" b="0" i="0" baseline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4pPr>
      <a:lvl5pPr marL="962165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lang="en-US" sz="1469" b="0" i="0" dirty="0" smtClean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5pPr>
      <a:lvl6pPr marL="1231074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lang="en-US" sz="1469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6pPr>
      <a:lvl7pPr marL="1585474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lang="en-US" sz="1469" b="0" i="0" dirty="0" smtClean="0">
          <a:solidFill>
            <a:srgbClr val="003087"/>
          </a:solidFill>
          <a:latin typeface="Univers for KPMG Light" panose="020B0403020202020204" pitchFamily="34" charset="0"/>
        </a:defRPr>
      </a:lvl7pPr>
      <a:lvl8pPr marL="1846611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lang="en-US" sz="1469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720">
          <p15:clr>
            <a:srgbClr val="F26B43"/>
          </p15:clr>
        </p15:guide>
        <p15:guide id="2" pos="572">
          <p15:clr>
            <a:srgbClr val="F26B43"/>
          </p15:clr>
        </p15:guide>
        <p15:guide id="3" pos="6240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4272">
          <p15:clr>
            <a:srgbClr val="F26B43"/>
          </p15:clr>
        </p15:guide>
        <p15:guide id="7" pos="3328">
          <p15:clr>
            <a:srgbClr val="F26B43"/>
          </p15:clr>
        </p15:guide>
        <p15:guide id="8" pos="348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73657"/>
              </p:ext>
            </p:extLst>
          </p:nvPr>
        </p:nvGraphicFramePr>
        <p:xfrm>
          <a:off x="2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215978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5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7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469537" y="943038"/>
            <a:ext cx="11469712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36916" y="6598956"/>
            <a:ext cx="121828" cy="122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9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796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450681" y="2318824"/>
            <a:ext cx="1349728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87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534837" y="4536804"/>
            <a:ext cx="1181414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87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1469712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527388" cy="17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114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94712"/>
            <a:ext cx="11725485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132775"/>
            <a:ext cx="11725485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5782" indent="-75782">
              <a:defRPr/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8" y="6614619"/>
            <a:ext cx="8291616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6490" indent="-386490" defTabSz="726814">
              <a:tabLst>
                <a:tab pos="511605" algn="l"/>
              </a:tabLst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094109"/>
            <a:ext cx="5853024" cy="409795"/>
            <a:chOff x="915" y="777"/>
            <a:chExt cx="2686" cy="2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77"/>
              <a:ext cx="2686" cy="2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73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73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9" y="305676"/>
            <a:ext cx="612776" cy="984251"/>
            <a:chOff x="4936" y="176"/>
            <a:chExt cx="38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11" y="305675"/>
            <a:ext cx="920751" cy="692152"/>
            <a:chOff x="4750" y="176"/>
            <a:chExt cx="580" cy="436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3" y="305675"/>
            <a:ext cx="679748" cy="1306516"/>
            <a:chOff x="7875175" y="286625"/>
            <a:chExt cx="679748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252971" y="305674"/>
            <a:ext cx="705771" cy="174535"/>
            <a:chOff x="8035004" y="285750"/>
            <a:chExt cx="705771" cy="17453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8035004" y="285750"/>
              <a:ext cx="705771" cy="1745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12353">
                <a:buClr>
                  <a:schemeClr val="tx2"/>
                </a:buClr>
              </a:pPr>
              <a:r>
                <a:rPr lang="en-US" sz="954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8035004" y="285750"/>
              <a:ext cx="0" cy="1745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8035004" y="460286"/>
              <a:ext cx="705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8E7382-BE90-FC8A-E2F9-F0A7452E72A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5841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</p:sldLayoutIdLst>
  <p:hf sldNum="0" hdr="0" ftr="0" dt="0"/>
  <p:txStyles>
    <p:titleStyle>
      <a:lvl1pPr algn="l" defTabSz="726814" rtl="0" eaLnBrk="1" fontAlgn="base" hangingPunct="1">
        <a:spcBef>
          <a:spcPct val="0"/>
        </a:spcBef>
        <a:spcAft>
          <a:spcPct val="0"/>
        </a:spcAft>
        <a:tabLst>
          <a:tab pos="219075" algn="l"/>
        </a:tabLst>
        <a:defRPr sz="2177" b="0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2pPr>
      <a:lvl3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3pPr>
      <a:lvl4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4pPr>
      <a:lvl5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5pPr>
      <a:lvl6pPr marL="371139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6pPr>
      <a:lvl7pPr marL="742278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7pPr>
      <a:lvl8pPr marL="111341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8pPr>
      <a:lvl9pPr marL="148455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9pPr>
    </p:titleStyle>
    <p:bodyStyle>
      <a:lvl1pPr marL="0" indent="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73" baseline="0">
          <a:solidFill>
            <a:schemeClr val="tx1"/>
          </a:solidFill>
          <a:latin typeface="+mn-lt"/>
          <a:ea typeface="+mn-ea"/>
          <a:cs typeface="+mn-cs"/>
        </a:defRPr>
      </a:lvl1pPr>
      <a:lvl2pPr marL="152777" indent="-15593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3" baseline="0">
          <a:solidFill>
            <a:schemeClr val="tx1"/>
          </a:solidFill>
          <a:latin typeface="+mn-lt"/>
        </a:defRPr>
      </a:lvl2pPr>
      <a:lvl3pPr marL="363755" indent="-21263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3" baseline="0">
          <a:solidFill>
            <a:schemeClr val="tx1"/>
          </a:solidFill>
          <a:latin typeface="+mn-lt"/>
        </a:defRPr>
      </a:lvl3pPr>
      <a:lvl4pPr marL="487431" indent="-12629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3" baseline="0">
          <a:solidFill>
            <a:schemeClr val="tx1"/>
          </a:solidFill>
          <a:latin typeface="+mn-lt"/>
        </a:defRPr>
      </a:lvl4pPr>
      <a:lvl5pPr marL="596558" indent="-101851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3" baseline="0">
          <a:solidFill>
            <a:schemeClr val="tx1"/>
          </a:solidFill>
          <a:latin typeface="+mn-lt"/>
        </a:defRPr>
      </a:lvl5pPr>
      <a:lvl6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6pPr>
      <a:lvl7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7pPr>
      <a:lvl8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8pPr>
      <a:lvl9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139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278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41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55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696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835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974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9113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5479999"/>
              </p:ext>
            </p:extLst>
          </p:nvPr>
        </p:nvGraphicFramePr>
        <p:xfrm>
          <a:off x="2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215978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5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7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469537" y="943038"/>
            <a:ext cx="11469712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36916" y="6598956"/>
            <a:ext cx="121828" cy="122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9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796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450681" y="2318824"/>
            <a:ext cx="1349728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87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534837" y="4536804"/>
            <a:ext cx="1181414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87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1469712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527388" cy="17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114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94712"/>
            <a:ext cx="11725485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132775"/>
            <a:ext cx="11725485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5782" indent="-75782">
              <a:defRPr/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8" y="6614619"/>
            <a:ext cx="8291616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6490" indent="-386490" defTabSz="726814">
              <a:tabLst>
                <a:tab pos="511605" algn="l"/>
              </a:tabLst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094109"/>
            <a:ext cx="5853024" cy="409795"/>
            <a:chOff x="915" y="777"/>
            <a:chExt cx="2686" cy="2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77"/>
              <a:ext cx="2686" cy="2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73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73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9" y="305676"/>
            <a:ext cx="612776" cy="984251"/>
            <a:chOff x="4936" y="176"/>
            <a:chExt cx="38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11" y="305675"/>
            <a:ext cx="920751" cy="692152"/>
            <a:chOff x="4750" y="176"/>
            <a:chExt cx="580" cy="436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3" y="305675"/>
            <a:ext cx="679748" cy="1306516"/>
            <a:chOff x="7875175" y="286625"/>
            <a:chExt cx="679748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252971" y="305674"/>
            <a:ext cx="705771" cy="174535"/>
            <a:chOff x="8035004" y="285750"/>
            <a:chExt cx="705771" cy="17453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8035004" y="285750"/>
              <a:ext cx="705771" cy="1745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12353">
                <a:buClr>
                  <a:schemeClr val="tx2"/>
                </a:buClr>
              </a:pPr>
              <a:r>
                <a:rPr lang="en-US" sz="954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8035004" y="285750"/>
              <a:ext cx="0" cy="1745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8035004" y="460286"/>
              <a:ext cx="705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ECB8FE6-161D-0D2E-A64F-F8CB1DD7311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35300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 ftr="0" dt="0"/>
  <p:txStyles>
    <p:titleStyle>
      <a:lvl1pPr algn="l" defTabSz="726814" rtl="0" eaLnBrk="1" fontAlgn="base" hangingPunct="1">
        <a:spcBef>
          <a:spcPct val="0"/>
        </a:spcBef>
        <a:spcAft>
          <a:spcPct val="0"/>
        </a:spcAft>
        <a:tabLst>
          <a:tab pos="219075" algn="l"/>
        </a:tabLst>
        <a:defRPr sz="2177" b="0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2pPr>
      <a:lvl3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3pPr>
      <a:lvl4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4pPr>
      <a:lvl5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5pPr>
      <a:lvl6pPr marL="371139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6pPr>
      <a:lvl7pPr marL="742278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7pPr>
      <a:lvl8pPr marL="111341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8pPr>
      <a:lvl9pPr marL="148455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9pPr>
    </p:titleStyle>
    <p:bodyStyle>
      <a:lvl1pPr marL="0" indent="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73" baseline="0">
          <a:solidFill>
            <a:schemeClr val="tx1"/>
          </a:solidFill>
          <a:latin typeface="+mn-lt"/>
          <a:ea typeface="+mn-ea"/>
          <a:cs typeface="+mn-cs"/>
        </a:defRPr>
      </a:lvl1pPr>
      <a:lvl2pPr marL="152777" indent="-15593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3" baseline="0">
          <a:solidFill>
            <a:schemeClr val="tx1"/>
          </a:solidFill>
          <a:latin typeface="+mn-lt"/>
        </a:defRPr>
      </a:lvl2pPr>
      <a:lvl3pPr marL="363755" indent="-21263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3" baseline="0">
          <a:solidFill>
            <a:schemeClr val="tx1"/>
          </a:solidFill>
          <a:latin typeface="+mn-lt"/>
        </a:defRPr>
      </a:lvl3pPr>
      <a:lvl4pPr marL="487431" indent="-12629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3" baseline="0">
          <a:solidFill>
            <a:schemeClr val="tx1"/>
          </a:solidFill>
          <a:latin typeface="+mn-lt"/>
        </a:defRPr>
      </a:lvl4pPr>
      <a:lvl5pPr marL="596558" indent="-101851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3" baseline="0">
          <a:solidFill>
            <a:schemeClr val="tx1"/>
          </a:solidFill>
          <a:latin typeface="+mn-lt"/>
        </a:defRPr>
      </a:lvl5pPr>
      <a:lvl6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6pPr>
      <a:lvl7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7pPr>
      <a:lvl8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8pPr>
      <a:lvl9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139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278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41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55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696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835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974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9113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2467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1646241"/>
            <a:ext cx="476201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4" name="LegendLines" hidden="1">
            <a:extLst>
              <a:ext uri="{FF2B5EF4-FFF2-40B4-BE49-F238E27FC236}">
                <a16:creationId xmlns:a16="http://schemas.microsoft.com/office/drawing/2014/main" id="{E5A3A058-6B69-4312-AF71-61B1CC1967FA}"/>
              </a:ext>
            </a:extLst>
          </p:cNvPr>
          <p:cNvGrpSpPr/>
          <p:nvPr/>
        </p:nvGrpSpPr>
        <p:grpSpPr>
          <a:xfrm>
            <a:off x="10398782" y="3150223"/>
            <a:ext cx="1251160" cy="958286"/>
            <a:chOff x="10162879" y="3243772"/>
            <a:chExt cx="1251160" cy="958286"/>
          </a:xfrm>
        </p:grpSpPr>
        <p:sp>
          <p:nvSpPr>
            <p:cNvPr id="155" name="Legend1" hidden="1">
              <a:extLst>
                <a:ext uri="{FF2B5EF4-FFF2-40B4-BE49-F238E27FC236}">
                  <a16:creationId xmlns:a16="http://schemas.microsoft.com/office/drawing/2014/main" id="{B1483347-D2CB-45E0-9695-BBA35B33DCFC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2" hidden="1">
              <a:extLst>
                <a:ext uri="{FF2B5EF4-FFF2-40B4-BE49-F238E27FC236}">
                  <a16:creationId xmlns:a16="http://schemas.microsoft.com/office/drawing/2014/main" id="{74639385-1E48-4018-A994-9AC18FC989D1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3" hidden="1">
              <a:extLst>
                <a:ext uri="{FF2B5EF4-FFF2-40B4-BE49-F238E27FC236}">
                  <a16:creationId xmlns:a16="http://schemas.microsoft.com/office/drawing/2014/main" id="{7B527157-F5B7-4231-9280-9C00C99F750A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ineLegend3" hidden="1">
              <a:extLst>
                <a:ext uri="{FF2B5EF4-FFF2-40B4-BE49-F238E27FC236}">
                  <a16:creationId xmlns:a16="http://schemas.microsoft.com/office/drawing/2014/main" id="{CFC4A46B-4B4C-4E18-8C29-56ED1CA8C9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59" name="LineLegend2" hidden="1">
              <a:extLst>
                <a:ext uri="{FF2B5EF4-FFF2-40B4-BE49-F238E27FC236}">
                  <a16:creationId xmlns:a16="http://schemas.microsoft.com/office/drawing/2014/main" id="{299E6BB7-7600-46F2-A0DA-ADCB38112B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60" name="LineLegend1" hidden="1">
              <a:extLst>
                <a:ext uri="{FF2B5EF4-FFF2-40B4-BE49-F238E27FC236}">
                  <a16:creationId xmlns:a16="http://schemas.microsoft.com/office/drawing/2014/main" id="{3DAD72C9-4400-4CA3-91AC-3D74AFB20B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</p:grpSp>
      <p:grpSp>
        <p:nvGrpSpPr>
          <p:cNvPr id="161" name="LegendMoons" hidden="1">
            <a:extLst>
              <a:ext uri="{FF2B5EF4-FFF2-40B4-BE49-F238E27FC236}">
                <a16:creationId xmlns:a16="http://schemas.microsoft.com/office/drawing/2014/main" id="{B0D16645-DEE1-4F0A-B841-F0821AA8B01C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23680" y="1702457"/>
            <a:chExt cx="880149" cy="1731859"/>
          </a:xfrm>
        </p:grpSpPr>
        <p:sp>
          <p:nvSpPr>
            <p:cNvPr id="162" name="Legend1" hidden="1">
              <a:extLst>
                <a:ext uri="{FF2B5EF4-FFF2-40B4-BE49-F238E27FC236}">
                  <a16:creationId xmlns:a16="http://schemas.microsoft.com/office/drawing/2014/main" id="{D5B6618B-0438-43C0-8BA2-9D42FD270E47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2" hidden="1">
              <a:extLst>
                <a:ext uri="{FF2B5EF4-FFF2-40B4-BE49-F238E27FC236}">
                  <a16:creationId xmlns:a16="http://schemas.microsoft.com/office/drawing/2014/main" id="{C6D9E259-1A28-4D00-BB3C-19F46D2232FD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3" hidden="1">
              <a:extLst>
                <a:ext uri="{FF2B5EF4-FFF2-40B4-BE49-F238E27FC236}">
                  <a16:creationId xmlns:a16="http://schemas.microsoft.com/office/drawing/2014/main" id="{3189FEC7-CC51-4CAE-A6C6-FEA94E439F34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4" hidden="1">
              <a:extLst>
                <a:ext uri="{FF2B5EF4-FFF2-40B4-BE49-F238E27FC236}">
                  <a16:creationId xmlns:a16="http://schemas.microsoft.com/office/drawing/2014/main" id="{21BBB0F4-4F3A-484D-8E0B-EBB347B64AF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5" hidden="1">
              <a:extLst>
                <a:ext uri="{FF2B5EF4-FFF2-40B4-BE49-F238E27FC236}">
                  <a16:creationId xmlns:a16="http://schemas.microsoft.com/office/drawing/2014/main" id="{771E2F80-1473-47C1-82BE-1713554C2FF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7" name="MoonLegend1" hidden="1">
              <a:extLst>
                <a:ext uri="{FF2B5EF4-FFF2-40B4-BE49-F238E27FC236}">
                  <a16:creationId xmlns:a16="http://schemas.microsoft.com/office/drawing/2014/main" id="{257648F1-4AEE-48B7-AFF5-A8DEC1282986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1" name="Oval 190" hidden="1">
                <a:extLst>
                  <a:ext uri="{FF2B5EF4-FFF2-40B4-BE49-F238E27FC236}">
                    <a16:creationId xmlns:a16="http://schemas.microsoft.com/office/drawing/2014/main" id="{DE0AC04E-3843-461E-85BB-02189C02D0E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 hidden="1">
                <a:extLst>
                  <a:ext uri="{FF2B5EF4-FFF2-40B4-BE49-F238E27FC236}">
                    <a16:creationId xmlns:a16="http://schemas.microsoft.com/office/drawing/2014/main" id="{E6456482-4CF3-4836-AD30-886DEF50722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8" name="MoonLegend2" hidden="1">
              <a:extLst>
                <a:ext uri="{FF2B5EF4-FFF2-40B4-BE49-F238E27FC236}">
                  <a16:creationId xmlns:a16="http://schemas.microsoft.com/office/drawing/2014/main" id="{F97812AB-8645-4B75-86C0-6BCF902FD82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9" name="Oval 188" hidden="1">
                <a:extLst>
                  <a:ext uri="{FF2B5EF4-FFF2-40B4-BE49-F238E27FC236}">
                    <a16:creationId xmlns:a16="http://schemas.microsoft.com/office/drawing/2014/main" id="{8D1BABEF-D16B-415A-811D-7E8ACD1CF32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Arc 189" hidden="1">
                <a:extLst>
                  <a:ext uri="{FF2B5EF4-FFF2-40B4-BE49-F238E27FC236}">
                    <a16:creationId xmlns:a16="http://schemas.microsoft.com/office/drawing/2014/main" id="{B451E5A3-4CB0-48E0-8165-36259B3A119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79" name="MoonLegend3" hidden="1">
              <a:extLst>
                <a:ext uri="{FF2B5EF4-FFF2-40B4-BE49-F238E27FC236}">
                  <a16:creationId xmlns:a16="http://schemas.microsoft.com/office/drawing/2014/main" id="{CCA1B5A0-01FC-4D63-A5BA-8FF1905A5B9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148EF22F-929B-4D1E-BAD3-4F8E0AB9B89E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FC3514F6-8FFF-446A-B0F0-157469FC9A2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80" name="MoonLegend4" hidden="1">
              <a:extLst>
                <a:ext uri="{FF2B5EF4-FFF2-40B4-BE49-F238E27FC236}">
                  <a16:creationId xmlns:a16="http://schemas.microsoft.com/office/drawing/2014/main" id="{1FEB0E84-C05F-4893-810F-76988B25734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C1A3C7B0-C48D-4DBA-808D-EFE7D16D82F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4920167-749D-43A3-ACDA-7A2D6395ED6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81" name="MoonLegend5" hidden="1">
              <a:extLst>
                <a:ext uri="{FF2B5EF4-FFF2-40B4-BE49-F238E27FC236}">
                  <a16:creationId xmlns:a16="http://schemas.microsoft.com/office/drawing/2014/main" id="{E0698A10-4500-4D0E-9EC6-A3BD37BE7A9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22BACCB4-258E-43DE-98CC-C8F5A047906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93EEF3B-F6E4-4786-8B6F-C138E7A9652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</p:grpSp>
      <p:grpSp>
        <p:nvGrpSpPr>
          <p:cNvPr id="193" name="LegendBoxes" hidden="1">
            <a:extLst>
              <a:ext uri="{FF2B5EF4-FFF2-40B4-BE49-F238E27FC236}">
                <a16:creationId xmlns:a16="http://schemas.microsoft.com/office/drawing/2014/main" id="{8B383AE1-3237-4072-A4A6-78EF864F79A4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652400" y="4322824"/>
            <a:chExt cx="853663" cy="1717282"/>
          </a:xfrm>
        </p:grpSpPr>
        <p:sp>
          <p:nvSpPr>
            <p:cNvPr id="194" name="RectangleLegend1" hidden="1">
              <a:extLst>
                <a:ext uri="{FF2B5EF4-FFF2-40B4-BE49-F238E27FC236}">
                  <a16:creationId xmlns:a16="http://schemas.microsoft.com/office/drawing/2014/main" id="{0EA23167-681D-4989-BC18-D73BAB2B2AB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2" hidden="1">
              <a:extLst>
                <a:ext uri="{FF2B5EF4-FFF2-40B4-BE49-F238E27FC236}">
                  <a16:creationId xmlns:a16="http://schemas.microsoft.com/office/drawing/2014/main" id="{85899BF4-99D2-4E2D-B434-476BCD53AD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3" hidden="1">
              <a:extLst>
                <a:ext uri="{FF2B5EF4-FFF2-40B4-BE49-F238E27FC236}">
                  <a16:creationId xmlns:a16="http://schemas.microsoft.com/office/drawing/2014/main" id="{0B167C30-E7EC-419A-B900-3B3C139473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4" hidden="1">
              <a:extLst>
                <a:ext uri="{FF2B5EF4-FFF2-40B4-BE49-F238E27FC236}">
                  <a16:creationId xmlns:a16="http://schemas.microsoft.com/office/drawing/2014/main" id="{AB8928CE-7CCC-4607-AA2B-308D14F776C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7" name="RectangleLegend5" hidden="1">
              <a:extLst>
                <a:ext uri="{FF2B5EF4-FFF2-40B4-BE49-F238E27FC236}">
                  <a16:creationId xmlns:a16="http://schemas.microsoft.com/office/drawing/2014/main" id="{5609DB1D-49A1-469C-B440-180799199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8" name="Legend1" hidden="1">
              <a:extLst>
                <a:ext uri="{FF2B5EF4-FFF2-40B4-BE49-F238E27FC236}">
                  <a16:creationId xmlns:a16="http://schemas.microsoft.com/office/drawing/2014/main" id="{C19D4B62-94C4-4A66-8EAE-32DA3026EC9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2" hidden="1">
              <a:extLst>
                <a:ext uri="{FF2B5EF4-FFF2-40B4-BE49-F238E27FC236}">
                  <a16:creationId xmlns:a16="http://schemas.microsoft.com/office/drawing/2014/main" id="{430CE5FC-9225-4C54-87D2-42C918FC9E0E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3" hidden="1">
              <a:extLst>
                <a:ext uri="{FF2B5EF4-FFF2-40B4-BE49-F238E27FC236}">
                  <a16:creationId xmlns:a16="http://schemas.microsoft.com/office/drawing/2014/main" id="{2F383794-289F-4C43-8E59-C7B62CE7627E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4" hidden="1">
              <a:extLst>
                <a:ext uri="{FF2B5EF4-FFF2-40B4-BE49-F238E27FC236}">
                  <a16:creationId xmlns:a16="http://schemas.microsoft.com/office/drawing/2014/main" id="{FF3D5E8A-C4CA-410D-A740-D54C4CF4889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2" name="Legend5" hidden="1">
              <a:extLst>
                <a:ext uri="{FF2B5EF4-FFF2-40B4-BE49-F238E27FC236}">
                  <a16:creationId xmlns:a16="http://schemas.microsoft.com/office/drawing/2014/main" id="{D48CF223-4C15-47D6-AF1A-6CDC04B4C1F8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DC939171-6E8C-4D80-A238-095B81711D68}"/>
              </a:ext>
            </a:extLst>
          </p:cNvPr>
          <p:cNvPicPr>
            <a:picLocks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1CDD93D-7B95-47D6-B3F8-1CC7258B1D37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D712AA2-F213-4DA0-A97B-22A6B333B296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263DFF2-9F58-4ECB-B41E-6B47E8753649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148BDD5-08D6-47E3-92F7-471A9F316451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ECCE39D-B19C-441D-9059-95D26F541E1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53971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49.xml"/><Relationship Id="rId7" Type="http://schemas.openxmlformats.org/officeDocument/2006/relationships/oleObject" Target="../embeddings/oleObject81.bin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5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3.xml"/><Relationship Id="rId7" Type="http://schemas.openxmlformats.org/officeDocument/2006/relationships/oleObject" Target="../embeddings/oleObject82.bin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38798" y="2988141"/>
            <a:ext cx="10642561" cy="30162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sz="4400" spc="-70" dirty="0"/>
              <a:t>Energy Transition in Oil-Dependent Economies: Public discount rates for </a:t>
            </a:r>
            <a:br>
              <a:rPr lang="en-US" sz="4400" spc="-70" dirty="0"/>
            </a:br>
            <a:r>
              <a:rPr lang="en-US" sz="4400" spc="-70" dirty="0"/>
              <a:t>investment project evaluation</a:t>
            </a:r>
            <a:br>
              <a:rPr lang="en-US" sz="4400" spc="-70" dirty="0"/>
            </a:br>
            <a:br>
              <a:rPr lang="en-US" sz="4400" spc="-70" dirty="0"/>
            </a:br>
            <a:r>
              <a:rPr lang="en-US" sz="2000" spc="-70" dirty="0"/>
              <a:t>Fatih Karanfil and Axel Pierru</a:t>
            </a:r>
            <a:endParaRPr lang="en-US" sz="4400" spc="-7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9368" y="223718"/>
            <a:ext cx="1203321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How our results materially impact the public evaluation of future cash flow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5537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7E219F-0BFC-421B-5072-FF8FB190F36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0</a:t>
            </a:fld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37FA3E-0FA5-35D6-C415-8A2F26C131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9" y="831518"/>
            <a:ext cx="10291897" cy="5519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30C01E-E040-333D-A388-A31912672CE6}"/>
              </a:ext>
            </a:extLst>
          </p:cNvPr>
          <p:cNvSpPr txBox="1"/>
          <p:nvPr/>
        </p:nvSpPr>
        <p:spPr>
          <a:xfrm>
            <a:off x="7508631" y="1317852"/>
            <a:ext cx="3723671" cy="6203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023-2040 period with real oil prices </a:t>
            </a:r>
            <a:br>
              <a:rPr lang="en-US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en-US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rom Stated Policies Scenario 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WEO; IEA, 2022)</a:t>
            </a:r>
            <a:endParaRPr lang="en-US" sz="14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534E198-25FE-E445-EBE4-C37703AEE1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9098697"/>
              </p:ext>
            </p:extLst>
          </p:nvPr>
        </p:nvGraphicFramePr>
        <p:xfrm>
          <a:off x="7516368" y="4442190"/>
          <a:ext cx="4586214" cy="185420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970564">
                  <a:extLst>
                    <a:ext uri="{9D8B030D-6E8A-4147-A177-3AD203B41FA5}">
                      <a16:colId xmlns:a16="http://schemas.microsoft.com/office/drawing/2014/main" val="1806916983"/>
                    </a:ext>
                  </a:extLst>
                </a:gridCol>
                <a:gridCol w="2830811">
                  <a:extLst>
                    <a:ext uri="{9D8B030D-6E8A-4147-A177-3AD203B41FA5}">
                      <a16:colId xmlns:a16="http://schemas.microsoft.com/office/drawing/2014/main" val="445278643"/>
                    </a:ext>
                  </a:extLst>
                </a:gridCol>
                <a:gridCol w="784839">
                  <a:extLst>
                    <a:ext uri="{9D8B030D-6E8A-4147-A177-3AD203B41FA5}">
                      <a16:colId xmlns:a16="http://schemas.microsoft.com/office/drawing/2014/main" val="3958008603"/>
                    </a:ext>
                  </a:extLst>
                </a:gridCol>
              </a:tblGrid>
              <a:tr h="370840">
                <a:tc rowSpan="3">
                  <a:txBody>
                    <a:bodyPr/>
                    <a:lstStyle/>
                    <a:p>
                      <a:r>
                        <a:rPr lang="en-US" sz="1600" b="1" dirty="0"/>
                        <a:t>Average individual impact</a:t>
                      </a:r>
                    </a:p>
                  </a:txBody>
                  <a:tcPr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Opportunity cost</a:t>
                      </a:r>
                      <a:endParaRPr lang="en-US" sz="16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6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837151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isk premium</a:t>
                      </a:r>
                      <a:endParaRPr lang="en-US" sz="16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10.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088606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iskless discount rate </a:t>
                      </a:r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.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8478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Avg. Cumulative impac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3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4023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Avg. Cumulative impact (GCC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49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32773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8753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29C116D-A733-12A8-21D0-2AF58F9F0A4E}"/>
              </a:ext>
            </a:extLst>
          </p:cNvPr>
          <p:cNvSpPr/>
          <p:nvPr/>
        </p:nvSpPr>
        <p:spPr>
          <a:xfrm>
            <a:off x="2532346" y="2676082"/>
            <a:ext cx="7421789" cy="1334504"/>
          </a:xfrm>
          <a:custGeom>
            <a:avLst/>
            <a:gdLst>
              <a:gd name="connsiteX0" fmla="*/ 0 w 7421789"/>
              <a:gd name="connsiteY0" fmla="*/ 0 h 1334502"/>
              <a:gd name="connsiteX1" fmla="*/ 6754538 w 7421789"/>
              <a:gd name="connsiteY1" fmla="*/ 0 h 1334502"/>
              <a:gd name="connsiteX2" fmla="*/ 7421789 w 7421789"/>
              <a:gd name="connsiteY2" fmla="*/ 667251 h 1334502"/>
              <a:gd name="connsiteX3" fmla="*/ 6754538 w 7421789"/>
              <a:gd name="connsiteY3" fmla="*/ 1334502 h 1334502"/>
              <a:gd name="connsiteX4" fmla="*/ 0 w 7421789"/>
              <a:gd name="connsiteY4" fmla="*/ 1334502 h 1334502"/>
              <a:gd name="connsiteX5" fmla="*/ 0 w 7421789"/>
              <a:gd name="connsiteY5" fmla="*/ 0 h 1334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21789" h="1334502">
                <a:moveTo>
                  <a:pt x="7421789" y="1334501"/>
                </a:moveTo>
                <a:lnTo>
                  <a:pt x="667251" y="1334501"/>
                </a:lnTo>
                <a:lnTo>
                  <a:pt x="0" y="667251"/>
                </a:lnTo>
                <a:lnTo>
                  <a:pt x="667251" y="1"/>
                </a:lnTo>
                <a:lnTo>
                  <a:pt x="7421789" y="1"/>
                </a:lnTo>
                <a:lnTo>
                  <a:pt x="7421789" y="133450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2103" tIns="80011" rIns="149352" bIns="80011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y enable governments to perform more accurate cost-benefit analyses, ensuring that decisions made enhance welfare and economic development</a:t>
            </a:r>
            <a:endParaRPr lang="en-US" sz="2100" kern="1200" dirty="0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Why it matters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1</a:t>
            </a:fld>
            <a:endParaRPr lang="en-US" sz="12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D95353E-5F29-1396-0CE4-1F565FF7AF2F}"/>
              </a:ext>
            </a:extLst>
          </p:cNvPr>
          <p:cNvSpPr/>
          <p:nvPr/>
        </p:nvSpPr>
        <p:spPr>
          <a:xfrm>
            <a:off x="2532346" y="943221"/>
            <a:ext cx="7421789" cy="1334504"/>
          </a:xfrm>
          <a:custGeom>
            <a:avLst/>
            <a:gdLst>
              <a:gd name="connsiteX0" fmla="*/ 0 w 7421789"/>
              <a:gd name="connsiteY0" fmla="*/ 0 h 1334502"/>
              <a:gd name="connsiteX1" fmla="*/ 6754538 w 7421789"/>
              <a:gd name="connsiteY1" fmla="*/ 0 h 1334502"/>
              <a:gd name="connsiteX2" fmla="*/ 7421789 w 7421789"/>
              <a:gd name="connsiteY2" fmla="*/ 667251 h 1334502"/>
              <a:gd name="connsiteX3" fmla="*/ 6754538 w 7421789"/>
              <a:gd name="connsiteY3" fmla="*/ 1334502 h 1334502"/>
              <a:gd name="connsiteX4" fmla="*/ 0 w 7421789"/>
              <a:gd name="connsiteY4" fmla="*/ 1334502 h 1334502"/>
              <a:gd name="connsiteX5" fmla="*/ 0 w 7421789"/>
              <a:gd name="connsiteY5" fmla="*/ 0 h 1334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21789" h="1334502">
                <a:moveTo>
                  <a:pt x="7421789" y="1334501"/>
                </a:moveTo>
                <a:lnTo>
                  <a:pt x="667251" y="1334501"/>
                </a:lnTo>
                <a:lnTo>
                  <a:pt x="0" y="667251"/>
                </a:lnTo>
                <a:lnTo>
                  <a:pt x="667251" y="1"/>
                </a:lnTo>
                <a:lnTo>
                  <a:pt x="7421789" y="1"/>
                </a:lnTo>
                <a:lnTo>
                  <a:pt x="7421789" y="133450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2103" tIns="80011" rIns="149352" bIns="80010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ur estimates are useful to policymakers in oil-rich countries considering investment projects or policies freeing oil from domestic consumption or using oil as an input </a:t>
            </a:r>
            <a:endParaRPr lang="en-US" sz="2100" kern="1200" dirty="0"/>
          </a:p>
        </p:txBody>
      </p:sp>
      <p:sp>
        <p:nvSpPr>
          <p:cNvPr id="21" name="Oval 20" descr="Oil refinery against blue sky">
            <a:extLst>
              <a:ext uri="{FF2B5EF4-FFF2-40B4-BE49-F238E27FC236}">
                <a16:creationId xmlns:a16="http://schemas.microsoft.com/office/drawing/2014/main" id="{A59F257D-31D9-838A-DD7B-E8B54C97F585}"/>
              </a:ext>
            </a:extLst>
          </p:cNvPr>
          <p:cNvSpPr/>
          <p:nvPr/>
        </p:nvSpPr>
        <p:spPr>
          <a:xfrm>
            <a:off x="1865095" y="943222"/>
            <a:ext cx="1334502" cy="1334502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AF46145F-1B2C-A2E6-11E0-BC428C78B280}"/>
              </a:ext>
            </a:extLst>
          </p:cNvPr>
          <p:cNvSpPr/>
          <p:nvPr/>
        </p:nvSpPr>
        <p:spPr>
          <a:xfrm>
            <a:off x="2532346" y="4408944"/>
            <a:ext cx="7421789" cy="1334502"/>
          </a:xfrm>
          <a:custGeom>
            <a:avLst/>
            <a:gdLst>
              <a:gd name="connsiteX0" fmla="*/ 0 w 7421789"/>
              <a:gd name="connsiteY0" fmla="*/ 0 h 1334502"/>
              <a:gd name="connsiteX1" fmla="*/ 6754538 w 7421789"/>
              <a:gd name="connsiteY1" fmla="*/ 0 h 1334502"/>
              <a:gd name="connsiteX2" fmla="*/ 7421789 w 7421789"/>
              <a:gd name="connsiteY2" fmla="*/ 667251 h 1334502"/>
              <a:gd name="connsiteX3" fmla="*/ 6754538 w 7421789"/>
              <a:gd name="connsiteY3" fmla="*/ 1334502 h 1334502"/>
              <a:gd name="connsiteX4" fmla="*/ 0 w 7421789"/>
              <a:gd name="connsiteY4" fmla="*/ 1334502 h 1334502"/>
              <a:gd name="connsiteX5" fmla="*/ 0 w 7421789"/>
              <a:gd name="connsiteY5" fmla="*/ 0 h 1334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21789" h="1334502">
                <a:moveTo>
                  <a:pt x="7421789" y="1334501"/>
                </a:moveTo>
                <a:lnTo>
                  <a:pt x="667251" y="1334501"/>
                </a:lnTo>
                <a:lnTo>
                  <a:pt x="0" y="667251"/>
                </a:lnTo>
                <a:lnTo>
                  <a:pt x="667251" y="1"/>
                </a:lnTo>
                <a:lnTo>
                  <a:pt x="7421789" y="1"/>
                </a:lnTo>
                <a:lnTo>
                  <a:pt x="7421789" y="133450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2103" tIns="80010" rIns="149352" bIns="80010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is is especially critical for oil-exporting countries pursuing domestic energy transitions and industrial development</a:t>
            </a:r>
            <a:endParaRPr lang="en-US" sz="2100" kern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763DBAC-A4EA-5E40-9851-11D79C850655}"/>
              </a:ext>
            </a:extLst>
          </p:cNvPr>
          <p:cNvSpPr/>
          <p:nvPr/>
        </p:nvSpPr>
        <p:spPr>
          <a:xfrm>
            <a:off x="1865095" y="4408944"/>
            <a:ext cx="1334502" cy="1334502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C72E3A5-8F23-B777-1623-2B2D01B40837}"/>
              </a:ext>
            </a:extLst>
          </p:cNvPr>
          <p:cNvSpPr/>
          <p:nvPr/>
        </p:nvSpPr>
        <p:spPr>
          <a:xfrm>
            <a:off x="1809741" y="2676082"/>
            <a:ext cx="1445209" cy="1334504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62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0" grpId="0" animBg="1"/>
      <p:bldP spid="21" grpId="0" animBg="1"/>
      <p:bldP spid="30" grpId="0" animBg="1"/>
      <p:bldP spid="31" grpId="0" animBg="1"/>
      <p:bldP spid="2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847633"/>
            <a:ext cx="8205978" cy="67710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4881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EDEA1CD-3155-083E-8F3F-D7866D28DAD6}"/>
              </a:ext>
            </a:extLst>
          </p:cNvPr>
          <p:cNvSpPr/>
          <p:nvPr/>
        </p:nvSpPr>
        <p:spPr>
          <a:xfrm>
            <a:off x="1409523" y="1029692"/>
            <a:ext cx="4460493" cy="3095769"/>
          </a:xfrm>
          <a:custGeom>
            <a:avLst/>
            <a:gdLst>
              <a:gd name="connsiteX0" fmla="*/ 0 w 4460493"/>
              <a:gd name="connsiteY0" fmla="*/ 201589 h 2015889"/>
              <a:gd name="connsiteX1" fmla="*/ 201589 w 4460493"/>
              <a:gd name="connsiteY1" fmla="*/ 0 h 2015889"/>
              <a:gd name="connsiteX2" fmla="*/ 4258904 w 4460493"/>
              <a:gd name="connsiteY2" fmla="*/ 0 h 2015889"/>
              <a:gd name="connsiteX3" fmla="*/ 4460493 w 4460493"/>
              <a:gd name="connsiteY3" fmla="*/ 201589 h 2015889"/>
              <a:gd name="connsiteX4" fmla="*/ 4460493 w 4460493"/>
              <a:gd name="connsiteY4" fmla="*/ 1814300 h 2015889"/>
              <a:gd name="connsiteX5" fmla="*/ 4258904 w 4460493"/>
              <a:gd name="connsiteY5" fmla="*/ 2015889 h 2015889"/>
              <a:gd name="connsiteX6" fmla="*/ 201589 w 4460493"/>
              <a:gd name="connsiteY6" fmla="*/ 2015889 h 2015889"/>
              <a:gd name="connsiteX7" fmla="*/ 0 w 4460493"/>
              <a:gd name="connsiteY7" fmla="*/ 1814300 h 2015889"/>
              <a:gd name="connsiteX8" fmla="*/ 0 w 4460493"/>
              <a:gd name="connsiteY8" fmla="*/ 201589 h 20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0493" h="2015889">
                <a:moveTo>
                  <a:pt x="0" y="201589"/>
                </a:moveTo>
                <a:cubicBezTo>
                  <a:pt x="0" y="90254"/>
                  <a:pt x="90254" y="0"/>
                  <a:pt x="201589" y="0"/>
                </a:cubicBezTo>
                <a:lnTo>
                  <a:pt x="4258904" y="0"/>
                </a:lnTo>
                <a:cubicBezTo>
                  <a:pt x="4370239" y="0"/>
                  <a:pt x="4460493" y="90254"/>
                  <a:pt x="4460493" y="201589"/>
                </a:cubicBezTo>
                <a:lnTo>
                  <a:pt x="4460493" y="1814300"/>
                </a:lnTo>
                <a:cubicBezTo>
                  <a:pt x="4460493" y="1925635"/>
                  <a:pt x="4370239" y="2015889"/>
                  <a:pt x="4258904" y="2015889"/>
                </a:cubicBezTo>
                <a:lnTo>
                  <a:pt x="201589" y="2015889"/>
                </a:lnTo>
                <a:cubicBezTo>
                  <a:pt x="90254" y="2015889"/>
                  <a:pt x="0" y="1925635"/>
                  <a:pt x="0" y="1814300"/>
                </a:cubicBezTo>
                <a:lnTo>
                  <a:pt x="0" y="2015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6680" tIns="913035" rIns="106680" bIns="509859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The material presented is based on Karanfil and Pierru (</a:t>
            </a:r>
            <a:r>
              <a:rPr lang="en-US" sz="1500" i="1" kern="1200" dirty="0"/>
              <a:t>The Energy Journal</a:t>
            </a:r>
            <a:r>
              <a:rPr lang="en-US" sz="1500" kern="1200" dirty="0"/>
              <a:t>, Accepted):</a:t>
            </a:r>
          </a:p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kern="1200" dirty="0"/>
              <a:t>“Energy Transition in Oil-Dependent Economies: Public discount rates for investment project evaluation”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Backgroun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2DC213B-D616-D4BC-3AAB-8D49A884A622}"/>
              </a:ext>
            </a:extLst>
          </p:cNvPr>
          <p:cNvSpPr/>
          <p:nvPr/>
        </p:nvSpPr>
        <p:spPr>
          <a:xfrm>
            <a:off x="6005252" y="1029692"/>
            <a:ext cx="4460493" cy="3095769"/>
          </a:xfrm>
          <a:custGeom>
            <a:avLst/>
            <a:gdLst>
              <a:gd name="connsiteX0" fmla="*/ 0 w 4460493"/>
              <a:gd name="connsiteY0" fmla="*/ 201589 h 2015889"/>
              <a:gd name="connsiteX1" fmla="*/ 201589 w 4460493"/>
              <a:gd name="connsiteY1" fmla="*/ 0 h 2015889"/>
              <a:gd name="connsiteX2" fmla="*/ 4258904 w 4460493"/>
              <a:gd name="connsiteY2" fmla="*/ 0 h 2015889"/>
              <a:gd name="connsiteX3" fmla="*/ 4460493 w 4460493"/>
              <a:gd name="connsiteY3" fmla="*/ 201589 h 2015889"/>
              <a:gd name="connsiteX4" fmla="*/ 4460493 w 4460493"/>
              <a:gd name="connsiteY4" fmla="*/ 1814300 h 2015889"/>
              <a:gd name="connsiteX5" fmla="*/ 4258904 w 4460493"/>
              <a:gd name="connsiteY5" fmla="*/ 2015889 h 2015889"/>
              <a:gd name="connsiteX6" fmla="*/ 201589 w 4460493"/>
              <a:gd name="connsiteY6" fmla="*/ 2015889 h 2015889"/>
              <a:gd name="connsiteX7" fmla="*/ 0 w 4460493"/>
              <a:gd name="connsiteY7" fmla="*/ 1814300 h 2015889"/>
              <a:gd name="connsiteX8" fmla="*/ 0 w 4460493"/>
              <a:gd name="connsiteY8" fmla="*/ 201589 h 20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0493" h="2015889">
                <a:moveTo>
                  <a:pt x="0" y="201589"/>
                </a:moveTo>
                <a:cubicBezTo>
                  <a:pt x="0" y="90254"/>
                  <a:pt x="90254" y="0"/>
                  <a:pt x="201589" y="0"/>
                </a:cubicBezTo>
                <a:lnTo>
                  <a:pt x="4258904" y="0"/>
                </a:lnTo>
                <a:cubicBezTo>
                  <a:pt x="4370239" y="0"/>
                  <a:pt x="4460493" y="90254"/>
                  <a:pt x="4460493" y="201589"/>
                </a:cubicBezTo>
                <a:lnTo>
                  <a:pt x="4460493" y="1814300"/>
                </a:lnTo>
                <a:cubicBezTo>
                  <a:pt x="4460493" y="1925635"/>
                  <a:pt x="4370239" y="2015889"/>
                  <a:pt x="4258904" y="2015889"/>
                </a:cubicBezTo>
                <a:lnTo>
                  <a:pt x="201589" y="2015889"/>
                </a:lnTo>
                <a:cubicBezTo>
                  <a:pt x="90254" y="2015889"/>
                  <a:pt x="0" y="1925635"/>
                  <a:pt x="0" y="1814300"/>
                </a:cubicBezTo>
                <a:lnTo>
                  <a:pt x="0" y="2015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6680" tIns="913035" rIns="106680" bIns="509859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5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Karanfil and Pierru (</a:t>
            </a:r>
            <a:r>
              <a:rPr lang="en-US" sz="1500" i="1" kern="1200" dirty="0"/>
              <a:t>Energy Economics</a:t>
            </a:r>
            <a:r>
              <a:rPr lang="en-US" sz="1500" kern="1200" dirty="0"/>
              <a:t>, 2021)</a:t>
            </a:r>
            <a:r>
              <a:rPr lang="en-US" sz="1500" dirty="0"/>
              <a:t>:</a:t>
            </a:r>
            <a:r>
              <a:rPr lang="en-US" sz="1500" kern="1200" dirty="0"/>
              <a:t> 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500" kern="1200" dirty="0"/>
              <a:t>“The opportunity cost of domestic oil consumption for an oil exporter: Illustration for Saudi Arabia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2</a:t>
            </a:fld>
            <a:endParaRPr lang="en-US" sz="12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BC85851-D286-45C2-4FF6-32087697B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2" y="1048610"/>
            <a:ext cx="1252978" cy="1788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D75F739D-2967-BF26-115E-671C1C458B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9009" y="1042304"/>
            <a:ext cx="1252978" cy="1788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F114610A-A79D-7606-046A-6B926E0796D6}"/>
              </a:ext>
            </a:extLst>
          </p:cNvPr>
          <p:cNvGrpSpPr/>
          <p:nvPr/>
        </p:nvGrpSpPr>
        <p:grpSpPr>
          <a:xfrm>
            <a:off x="6000712" y="4225161"/>
            <a:ext cx="4460493" cy="1942310"/>
            <a:chOff x="6158367" y="4426959"/>
            <a:chExt cx="4460493" cy="1481957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9F3C4F5-4D89-C928-7C19-916BED5B02A1}"/>
                </a:ext>
              </a:extLst>
            </p:cNvPr>
            <p:cNvSpPr/>
            <p:nvPr/>
          </p:nvSpPr>
          <p:spPr>
            <a:xfrm>
              <a:off x="6158367" y="4426959"/>
              <a:ext cx="4460493" cy="300100"/>
            </a:xfrm>
            <a:custGeom>
              <a:avLst/>
              <a:gdLst>
                <a:gd name="connsiteX0" fmla="*/ 0 w 4460493"/>
                <a:gd name="connsiteY0" fmla="*/ 29470 h 176819"/>
                <a:gd name="connsiteX1" fmla="*/ 29470 w 4460493"/>
                <a:gd name="connsiteY1" fmla="*/ 0 h 176819"/>
                <a:gd name="connsiteX2" fmla="*/ 4431023 w 4460493"/>
                <a:gd name="connsiteY2" fmla="*/ 0 h 176819"/>
                <a:gd name="connsiteX3" fmla="*/ 4460493 w 4460493"/>
                <a:gd name="connsiteY3" fmla="*/ 29470 h 176819"/>
                <a:gd name="connsiteX4" fmla="*/ 4460493 w 4460493"/>
                <a:gd name="connsiteY4" fmla="*/ 147349 h 176819"/>
                <a:gd name="connsiteX5" fmla="*/ 4431023 w 4460493"/>
                <a:gd name="connsiteY5" fmla="*/ 176819 h 176819"/>
                <a:gd name="connsiteX6" fmla="*/ 29470 w 4460493"/>
                <a:gd name="connsiteY6" fmla="*/ 176819 h 176819"/>
                <a:gd name="connsiteX7" fmla="*/ 0 w 4460493"/>
                <a:gd name="connsiteY7" fmla="*/ 147349 h 176819"/>
                <a:gd name="connsiteX8" fmla="*/ 0 w 4460493"/>
                <a:gd name="connsiteY8" fmla="*/ 29470 h 17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60493" h="176819">
                  <a:moveTo>
                    <a:pt x="0" y="29470"/>
                  </a:moveTo>
                  <a:cubicBezTo>
                    <a:pt x="0" y="13194"/>
                    <a:pt x="13194" y="0"/>
                    <a:pt x="29470" y="0"/>
                  </a:cubicBezTo>
                  <a:lnTo>
                    <a:pt x="4431023" y="0"/>
                  </a:lnTo>
                  <a:cubicBezTo>
                    <a:pt x="4447299" y="0"/>
                    <a:pt x="4460493" y="13194"/>
                    <a:pt x="4460493" y="29470"/>
                  </a:cubicBezTo>
                  <a:lnTo>
                    <a:pt x="4460493" y="147349"/>
                  </a:lnTo>
                  <a:cubicBezTo>
                    <a:pt x="4460493" y="163625"/>
                    <a:pt x="4447299" y="176819"/>
                    <a:pt x="4431023" y="176819"/>
                  </a:cubicBezTo>
                  <a:lnTo>
                    <a:pt x="29470" y="176819"/>
                  </a:lnTo>
                  <a:cubicBezTo>
                    <a:pt x="13194" y="176819"/>
                    <a:pt x="0" y="163625"/>
                    <a:pt x="0" y="147349"/>
                  </a:cubicBezTo>
                  <a:lnTo>
                    <a:pt x="0" y="2947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542" tIns="50542" rIns="50542" bIns="50542" numCol="1" spcCol="1270" anchor="ctr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Analytical results for a generic oil-exporting country</a:t>
              </a: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9700AEE-E803-07B9-AD96-791F763E5C97}"/>
                </a:ext>
              </a:extLst>
            </p:cNvPr>
            <p:cNvSpPr/>
            <p:nvPr/>
          </p:nvSpPr>
          <p:spPr>
            <a:xfrm>
              <a:off x="6158367" y="4727059"/>
              <a:ext cx="4460493" cy="266158"/>
            </a:xfrm>
            <a:custGeom>
              <a:avLst/>
              <a:gdLst>
                <a:gd name="connsiteX0" fmla="*/ 0 w 4460493"/>
                <a:gd name="connsiteY0" fmla="*/ 29470 h 176819"/>
                <a:gd name="connsiteX1" fmla="*/ 29470 w 4460493"/>
                <a:gd name="connsiteY1" fmla="*/ 0 h 176819"/>
                <a:gd name="connsiteX2" fmla="*/ 4431023 w 4460493"/>
                <a:gd name="connsiteY2" fmla="*/ 0 h 176819"/>
                <a:gd name="connsiteX3" fmla="*/ 4460493 w 4460493"/>
                <a:gd name="connsiteY3" fmla="*/ 29470 h 176819"/>
                <a:gd name="connsiteX4" fmla="*/ 4460493 w 4460493"/>
                <a:gd name="connsiteY4" fmla="*/ 147349 h 176819"/>
                <a:gd name="connsiteX5" fmla="*/ 4431023 w 4460493"/>
                <a:gd name="connsiteY5" fmla="*/ 176819 h 176819"/>
                <a:gd name="connsiteX6" fmla="*/ 29470 w 4460493"/>
                <a:gd name="connsiteY6" fmla="*/ 176819 h 176819"/>
                <a:gd name="connsiteX7" fmla="*/ 0 w 4460493"/>
                <a:gd name="connsiteY7" fmla="*/ 147349 h 176819"/>
                <a:gd name="connsiteX8" fmla="*/ 0 w 4460493"/>
                <a:gd name="connsiteY8" fmla="*/ 29470 h 17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60493" h="176819">
                  <a:moveTo>
                    <a:pt x="0" y="29470"/>
                  </a:moveTo>
                  <a:cubicBezTo>
                    <a:pt x="0" y="13194"/>
                    <a:pt x="13194" y="0"/>
                    <a:pt x="29470" y="0"/>
                  </a:cubicBezTo>
                  <a:lnTo>
                    <a:pt x="4431023" y="0"/>
                  </a:lnTo>
                  <a:cubicBezTo>
                    <a:pt x="4447299" y="0"/>
                    <a:pt x="4460493" y="13194"/>
                    <a:pt x="4460493" y="29470"/>
                  </a:cubicBezTo>
                  <a:lnTo>
                    <a:pt x="4460493" y="147349"/>
                  </a:lnTo>
                  <a:cubicBezTo>
                    <a:pt x="4460493" y="163625"/>
                    <a:pt x="4447299" y="176819"/>
                    <a:pt x="4431023" y="176819"/>
                  </a:cubicBezTo>
                  <a:lnTo>
                    <a:pt x="29470" y="176819"/>
                  </a:lnTo>
                  <a:cubicBezTo>
                    <a:pt x="13194" y="176819"/>
                    <a:pt x="0" y="163625"/>
                    <a:pt x="0" y="147349"/>
                  </a:cubicBezTo>
                  <a:lnTo>
                    <a:pt x="0" y="29470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542" tIns="50542" rIns="50542" bIns="50542" numCol="1" spcCol="1270" anchor="ctr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Numerical estimates for Saudi Arabia</a:t>
              </a: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D158055-5F4A-9EEC-ACE4-01BA896B5757}"/>
                </a:ext>
              </a:extLst>
            </p:cNvPr>
            <p:cNvSpPr/>
            <p:nvPr/>
          </p:nvSpPr>
          <p:spPr>
            <a:xfrm>
              <a:off x="6158367" y="4994720"/>
              <a:ext cx="4460493" cy="264656"/>
            </a:xfrm>
            <a:custGeom>
              <a:avLst/>
              <a:gdLst>
                <a:gd name="connsiteX0" fmla="*/ 0 w 4460493"/>
                <a:gd name="connsiteY0" fmla="*/ 29470 h 176819"/>
                <a:gd name="connsiteX1" fmla="*/ 29470 w 4460493"/>
                <a:gd name="connsiteY1" fmla="*/ 0 h 176819"/>
                <a:gd name="connsiteX2" fmla="*/ 4431023 w 4460493"/>
                <a:gd name="connsiteY2" fmla="*/ 0 h 176819"/>
                <a:gd name="connsiteX3" fmla="*/ 4460493 w 4460493"/>
                <a:gd name="connsiteY3" fmla="*/ 29470 h 176819"/>
                <a:gd name="connsiteX4" fmla="*/ 4460493 w 4460493"/>
                <a:gd name="connsiteY4" fmla="*/ 147349 h 176819"/>
                <a:gd name="connsiteX5" fmla="*/ 4431023 w 4460493"/>
                <a:gd name="connsiteY5" fmla="*/ 176819 h 176819"/>
                <a:gd name="connsiteX6" fmla="*/ 29470 w 4460493"/>
                <a:gd name="connsiteY6" fmla="*/ 176819 h 176819"/>
                <a:gd name="connsiteX7" fmla="*/ 0 w 4460493"/>
                <a:gd name="connsiteY7" fmla="*/ 147349 h 176819"/>
                <a:gd name="connsiteX8" fmla="*/ 0 w 4460493"/>
                <a:gd name="connsiteY8" fmla="*/ 29470 h 17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60493" h="176819">
                  <a:moveTo>
                    <a:pt x="0" y="29470"/>
                  </a:moveTo>
                  <a:cubicBezTo>
                    <a:pt x="0" y="13194"/>
                    <a:pt x="13194" y="0"/>
                    <a:pt x="29470" y="0"/>
                  </a:cubicBezTo>
                  <a:lnTo>
                    <a:pt x="4431023" y="0"/>
                  </a:lnTo>
                  <a:cubicBezTo>
                    <a:pt x="4447299" y="0"/>
                    <a:pt x="4460493" y="13194"/>
                    <a:pt x="4460493" y="29470"/>
                  </a:cubicBezTo>
                  <a:lnTo>
                    <a:pt x="4460493" y="147349"/>
                  </a:lnTo>
                  <a:cubicBezTo>
                    <a:pt x="4460493" y="163625"/>
                    <a:pt x="4447299" y="176819"/>
                    <a:pt x="4431023" y="176819"/>
                  </a:cubicBezTo>
                  <a:lnTo>
                    <a:pt x="29470" y="176819"/>
                  </a:lnTo>
                  <a:cubicBezTo>
                    <a:pt x="13194" y="176819"/>
                    <a:pt x="0" y="163625"/>
                    <a:pt x="0" y="147349"/>
                  </a:cubicBezTo>
                  <a:lnTo>
                    <a:pt x="0" y="2947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542" tIns="50542" rIns="50542" bIns="50542" numCol="1" spcCol="1270" anchor="ctr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/>
                <a:t>Welfare maximization: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C0124538-3B1D-5E5B-C7D9-09F9418C2925}"/>
                    </a:ext>
                  </a:extLst>
                </p:cNvPr>
                <p:cNvSpPr/>
                <p:nvPr/>
              </p:nvSpPr>
              <p:spPr>
                <a:xfrm>
                  <a:off x="6158367" y="5259377"/>
                  <a:ext cx="4460493" cy="649539"/>
                </a:xfrm>
                <a:custGeom>
                  <a:avLst/>
                  <a:gdLst>
                    <a:gd name="connsiteX0" fmla="*/ 0 w 4460493"/>
                    <a:gd name="connsiteY0" fmla="*/ 61525 h 369143"/>
                    <a:gd name="connsiteX1" fmla="*/ 61525 w 4460493"/>
                    <a:gd name="connsiteY1" fmla="*/ 0 h 369143"/>
                    <a:gd name="connsiteX2" fmla="*/ 4398968 w 4460493"/>
                    <a:gd name="connsiteY2" fmla="*/ 0 h 369143"/>
                    <a:gd name="connsiteX3" fmla="*/ 4460493 w 4460493"/>
                    <a:gd name="connsiteY3" fmla="*/ 61525 h 369143"/>
                    <a:gd name="connsiteX4" fmla="*/ 4460493 w 4460493"/>
                    <a:gd name="connsiteY4" fmla="*/ 307618 h 369143"/>
                    <a:gd name="connsiteX5" fmla="*/ 4398968 w 4460493"/>
                    <a:gd name="connsiteY5" fmla="*/ 369143 h 369143"/>
                    <a:gd name="connsiteX6" fmla="*/ 61525 w 4460493"/>
                    <a:gd name="connsiteY6" fmla="*/ 369143 h 369143"/>
                    <a:gd name="connsiteX7" fmla="*/ 0 w 4460493"/>
                    <a:gd name="connsiteY7" fmla="*/ 307618 h 369143"/>
                    <a:gd name="connsiteX8" fmla="*/ 0 w 4460493"/>
                    <a:gd name="connsiteY8" fmla="*/ 61525 h 36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460493" h="369143">
                      <a:moveTo>
                        <a:pt x="0" y="61525"/>
                      </a:moveTo>
                      <a:cubicBezTo>
                        <a:pt x="0" y="27546"/>
                        <a:pt x="27546" y="0"/>
                        <a:pt x="61525" y="0"/>
                      </a:cubicBezTo>
                      <a:lnTo>
                        <a:pt x="4398968" y="0"/>
                      </a:lnTo>
                      <a:cubicBezTo>
                        <a:pt x="4432947" y="0"/>
                        <a:pt x="4460493" y="27546"/>
                        <a:pt x="4460493" y="61525"/>
                      </a:cubicBezTo>
                      <a:lnTo>
                        <a:pt x="4460493" y="307618"/>
                      </a:lnTo>
                      <a:cubicBezTo>
                        <a:pt x="4460493" y="341597"/>
                        <a:pt x="4432947" y="369143"/>
                        <a:pt x="4398968" y="369143"/>
                      </a:cubicBezTo>
                      <a:lnTo>
                        <a:pt x="61525" y="369143"/>
                      </a:lnTo>
                      <a:cubicBezTo>
                        <a:pt x="27546" y="369143"/>
                        <a:pt x="0" y="341597"/>
                        <a:pt x="0" y="307618"/>
                      </a:cubicBezTo>
                      <a:lnTo>
                        <a:pt x="0" y="61525"/>
                      </a:lnTo>
                      <a:close/>
                    </a:path>
                  </a:pathLst>
                </a:custGeom>
                <a:solidFill>
                  <a:schemeClr val="accent4">
                    <a:lumMod val="25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59930" tIns="59930" rIns="59930" bIns="59930" numCol="1" spcCol="1270" anchor="ctr" anchorCtr="0">
                  <a:noAutofit/>
                </a:bodyPr>
                <a:lstStyle/>
                <a:p>
                  <a:pPr marL="0" lvl="0" indent="0" algn="l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US" sz="1400" i="1" kern="1200" dirty="0"/>
                </a:p>
                <a:p>
                  <a:pPr marL="0" lvl="0" indent="0" algn="l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nary>
                          <m:naryPr>
                            <m:chr m:val="∑"/>
                            <m:limLoc m:val="undOvr"/>
                            <m:ctrlPr>
                              <a:rPr lang="en-US" sz="1400" i="1" kern="120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en-US" sz="1400" i="1" kern="120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sz="1400" kern="1200">
                                <a:latin typeface="Cambria Math" panose="02040503050406030204" pitchFamily="18" charset="0"/>
                              </a:rPr>
                              <m:t>=0</m:t>
                            </m:r>
                          </m:sub>
                          <m:sup>
                            <m:r>
                              <a:rPr lang="en-US" sz="1400" i="1" kern="120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  <m:e>
                            <m:f>
                              <m:fPr>
                                <m:ctrlPr>
                                  <a:rPr lang="en-US" sz="1400" i="1" kern="120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kern="120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sSup>
                                  <m:sSupPr>
                                    <m:ctrlP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kern="1200">
                                            <a:latin typeface="Cambria Math" panose="02040503050406030204" pitchFamily="18" charset="0"/>
                                          </a:rPr>
                                          <m:t>1+</m:t>
                                        </m:r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𝑑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p>
                                </m:sSup>
                              </m:den>
                            </m:f>
                            <m:d>
                              <m:dPr>
                                <m:ctrlPr>
                                  <a:rPr lang="en-US" sz="1400" i="1" kern="120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b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e>
                                </m:d>
                                <m:r>
                                  <a:rPr lang="en-US" sz="1400" kern="120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nary>
                                  <m:naryPr>
                                    <m:limLoc m:val="subSup"/>
                                    <m:ctrlP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en-US" sz="1400" kern="120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  <m:sup>
                                    <m:sSub>
                                      <m:sSubPr>
                                        <m:ctrlP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𝑞</m:t>
                                        </m:r>
                                      </m:e>
                                      <m:sub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sup>
                                  <m:e>
                                    <m:sSubSup>
                                      <m:sSubSupPr>
                                        <m:ctrlP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𝐷</m:t>
                                        </m:r>
                                      </m:e>
                                      <m:sub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  <m:sup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sz="1400" kern="120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d>
                                      <m:dPr>
                                        <m:ctrlP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𝑠</m:t>
                                        </m:r>
                                      </m:e>
                                    </m:d>
                                  </m:e>
                                </m:nary>
                                <m:r>
                                  <a:rPr lang="en-US" sz="1400" i="1" kern="1200">
                                    <a:latin typeface="Cambria Math" panose="02040503050406030204" pitchFamily="18" charset="0"/>
                                  </a:rPr>
                                  <m:t>𝑑𝑠</m:t>
                                </m:r>
                                <m:r>
                                  <a:rPr lang="en-US" sz="1400" i="1" kern="1200">
                                    <a:latin typeface="Cambria Math" panose="02040503050406030204" pitchFamily="18" charset="0"/>
                                  </a:rPr>
                                  <m:t>− </m:t>
                                </m:r>
                                <m:r>
                                  <a:rPr lang="en-US" sz="1400" i="1" kern="1200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  <m:d>
                                  <m:dPr>
                                    <m:ctrlPr>
                                      <a:rPr lang="en-US" sz="1400" i="1" kern="120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𝑜</m:t>
                                        </m:r>
                                      </m:e>
                                      <m:sub>
                                        <m:r>
                                          <a:rPr lang="en-US" sz="1400" i="1" kern="1200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</m:d>
                          </m:e>
                        </m:nary>
                      </m:oMath>
                    </m:oMathPara>
                  </a14:m>
                  <a:endParaRPr lang="en-US" sz="1400" kern="1200" dirty="0"/>
                </a:p>
              </p:txBody>
            </p:sp>
          </mc:Choice>
          <mc:Fallback xmlns=""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C0124538-3B1D-5E5B-C7D9-09F9418C292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58367" y="5259377"/>
                  <a:ext cx="4460493" cy="649539"/>
                </a:xfrm>
                <a:custGeom>
                  <a:avLst/>
                  <a:gdLst>
                    <a:gd name="connsiteX0" fmla="*/ 0 w 4460493"/>
                    <a:gd name="connsiteY0" fmla="*/ 61525 h 369143"/>
                    <a:gd name="connsiteX1" fmla="*/ 61525 w 4460493"/>
                    <a:gd name="connsiteY1" fmla="*/ 0 h 369143"/>
                    <a:gd name="connsiteX2" fmla="*/ 4398968 w 4460493"/>
                    <a:gd name="connsiteY2" fmla="*/ 0 h 369143"/>
                    <a:gd name="connsiteX3" fmla="*/ 4460493 w 4460493"/>
                    <a:gd name="connsiteY3" fmla="*/ 61525 h 369143"/>
                    <a:gd name="connsiteX4" fmla="*/ 4460493 w 4460493"/>
                    <a:gd name="connsiteY4" fmla="*/ 307618 h 369143"/>
                    <a:gd name="connsiteX5" fmla="*/ 4398968 w 4460493"/>
                    <a:gd name="connsiteY5" fmla="*/ 369143 h 369143"/>
                    <a:gd name="connsiteX6" fmla="*/ 61525 w 4460493"/>
                    <a:gd name="connsiteY6" fmla="*/ 369143 h 369143"/>
                    <a:gd name="connsiteX7" fmla="*/ 0 w 4460493"/>
                    <a:gd name="connsiteY7" fmla="*/ 307618 h 369143"/>
                    <a:gd name="connsiteX8" fmla="*/ 0 w 4460493"/>
                    <a:gd name="connsiteY8" fmla="*/ 61525 h 369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460493" h="369143">
                      <a:moveTo>
                        <a:pt x="0" y="61525"/>
                      </a:moveTo>
                      <a:cubicBezTo>
                        <a:pt x="0" y="27546"/>
                        <a:pt x="27546" y="0"/>
                        <a:pt x="61525" y="0"/>
                      </a:cubicBezTo>
                      <a:lnTo>
                        <a:pt x="4398968" y="0"/>
                      </a:lnTo>
                      <a:cubicBezTo>
                        <a:pt x="4432947" y="0"/>
                        <a:pt x="4460493" y="27546"/>
                        <a:pt x="4460493" y="61525"/>
                      </a:cubicBezTo>
                      <a:lnTo>
                        <a:pt x="4460493" y="307618"/>
                      </a:lnTo>
                      <a:cubicBezTo>
                        <a:pt x="4460493" y="341597"/>
                        <a:pt x="4432947" y="369143"/>
                        <a:pt x="4398968" y="369143"/>
                      </a:cubicBezTo>
                      <a:lnTo>
                        <a:pt x="61525" y="369143"/>
                      </a:lnTo>
                      <a:cubicBezTo>
                        <a:pt x="27546" y="369143"/>
                        <a:pt x="0" y="341597"/>
                        <a:pt x="0" y="307618"/>
                      </a:cubicBezTo>
                      <a:lnTo>
                        <a:pt x="0" y="61525"/>
                      </a:lnTo>
                      <a:close/>
                    </a:path>
                  </a:pathLst>
                </a:cu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554655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734137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Motiv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9025391-0E24-8D20-E2AD-7571D6424A12}"/>
              </a:ext>
            </a:extLst>
          </p:cNvPr>
          <p:cNvSpPr txBox="1"/>
          <p:nvPr/>
        </p:nvSpPr>
        <p:spPr>
          <a:xfrm>
            <a:off x="1991710" y="3024188"/>
            <a:ext cx="9458884" cy="8800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75.9% of Saudi Arabia’s total government revenues </a:t>
            </a:r>
            <a:r>
              <a:rPr lang="en-US" sz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SAMA)</a:t>
            </a:r>
            <a:endParaRPr lang="en-US" sz="1800" dirty="0">
              <a:effectLst/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95.1% and 54.7% of total government revenues in Iraq and the UAE </a:t>
            </a:r>
            <a:r>
              <a:rPr lang="en-US" sz="12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IMF)</a:t>
            </a:r>
            <a:r>
              <a:rPr lang="en-US" sz="1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3</a:t>
            </a:fld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01F8CF-FEFA-7053-4F7C-19D33CE5D6A8}"/>
              </a:ext>
            </a:extLst>
          </p:cNvPr>
          <p:cNvSpPr txBox="1"/>
          <p:nvPr/>
        </p:nvSpPr>
        <p:spPr>
          <a:xfrm>
            <a:off x="1991710" y="1109619"/>
            <a:ext cx="9458884" cy="147237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 domestic energy transition of an oil-exporting economy often implies investing in projects that displace oil from domestic consumption (enhancing energy efficiency in an oil-consuming sector or developing renewables capacity)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Most oil-exporting economies pursue economic diversification and industrial development policies, which ultimately leads to less dependence on oil revenues</a:t>
            </a:r>
            <a:endParaRPr lang="en-US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FBD021-14EE-590D-C33F-3A246ECD1468}"/>
              </a:ext>
            </a:extLst>
          </p:cNvPr>
          <p:cNvSpPr txBox="1"/>
          <p:nvPr/>
        </p:nvSpPr>
        <p:spPr>
          <a:xfrm>
            <a:off x="1991710" y="4350655"/>
            <a:ext cx="9458884" cy="147238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electing welfare-enhancing projects necessitates understanding the extent to which economic dependence on oil impacts the present value of oil-related cash flows from a public policy perspective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Need for public discount rates that capture both the risk of the cash flows and the characteristics of the oil-exporting economy considered</a:t>
            </a:r>
            <a:endParaRPr lang="en-US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9F88B8-204F-DDDA-7B44-00AAA396D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180" y="1281500"/>
            <a:ext cx="1107092" cy="110709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38F5022-F06C-E307-5A2B-4F5314F6E4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042" y="4461087"/>
            <a:ext cx="1285367" cy="12853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BF96D81-5053-8024-1D3F-FC80FA7B24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180" y="2884302"/>
            <a:ext cx="1107092" cy="1107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213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943818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Approach: Valuing cash flows from a public policy perspectiv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914317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4C9CC2E-7B95-C53B-CF0A-3BA838F943A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4</a:t>
            </a:fld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25B94B0-1DAD-EC75-E80F-D42D38626258}"/>
                  </a:ext>
                </a:extLst>
              </p:cNvPr>
              <p:cNvSpPr txBox="1"/>
              <p:nvPr/>
            </p:nvSpPr>
            <p:spPr>
              <a:xfrm>
                <a:off x="618612" y="1238543"/>
                <a:ext cx="10532338" cy="95782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algn="just">
                  <a:spcBef>
                    <a:spcPts val="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𝑊</m:t>
                      </m:r>
                      <m:d>
                        <m:dPr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e>
                      </m:d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𝑈</m:t>
                      </m:r>
                      <m:d>
                        <m:dPr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−</m:t>
                          </m:r>
                          <m:r>
                            <a:rPr lang="en-US" sz="2000" b="0" i="1" smtClean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𝐼</m:t>
                          </m:r>
                        </m:e>
                      </m:d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𝛿</m:t>
                              </m:r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p>
                          </m:sSup>
                        </m:e>
                      </m:nary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𝑈</m:t>
                          </m:r>
                          <m:d>
                            <m:dPr>
                              <m:ctrlP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en-US" sz="20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𝛾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𝑞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25B94B0-1DAD-EC75-E80F-D42D386262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612" y="1238543"/>
                <a:ext cx="10532338" cy="95782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1D7C4944-EA12-02DA-8160-E63FAF81170E}"/>
              </a:ext>
            </a:extLst>
          </p:cNvPr>
          <p:cNvSpPr txBox="1"/>
          <p:nvPr/>
        </p:nvSpPr>
        <p:spPr>
          <a:xfrm>
            <a:off x="456619" y="1053877"/>
            <a:ext cx="3895925" cy="369332"/>
          </a:xfrm>
          <a:prstGeom prst="rect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</a:pPr>
            <a:r>
              <a:rPr lang="en-US" sz="1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vestment project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E122764-B4D3-642A-9886-AB50FAFDA189}"/>
                  </a:ext>
                </a:extLst>
              </p:cNvPr>
              <p:cNvSpPr txBox="1"/>
              <p:nvPr/>
            </p:nvSpPr>
            <p:spPr>
              <a:xfrm>
                <a:off x="618613" y="2338014"/>
                <a:ext cx="10532338" cy="128746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marL="285750" marR="0" indent="-285750" algn="just">
                  <a:lnSpc>
                    <a:spcPct val="150000"/>
                  </a:lnSpc>
                  <a:spcBef>
                    <a:spcPts val="0"/>
                  </a:spcBef>
                  <a:buClr>
                    <a:srgbClr val="00B050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𝑞</m:t>
                    </m:r>
                  </m:oMath>
                </a14:m>
                <a:r>
                  <a:rPr lang="en-US" dirty="0">
                    <a:solidFill>
                      <a:schemeClr val="tx1"/>
                    </a:solidFill>
                    <a:effectLst/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: fixed quantity of barrels of oil freed from domestic consumption</a:t>
                </a:r>
              </a:p>
              <a:p>
                <a:pPr marL="285750" indent="-285750" algn="just">
                  <a:lnSpc>
                    <a:spcPct val="150000"/>
                  </a:lnSpc>
                  <a:buClr>
                    <a:srgbClr val="00B050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𝛾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tx1"/>
                    </a:solidFill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: The opportunity cost of oil depends on the price elasticities of global oil demand and other producers’ supply, as well as the country’s share in the global market 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E122764-B4D3-642A-9886-AB50FAFDA1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613" y="2338014"/>
                <a:ext cx="10532338" cy="1287468"/>
              </a:xfrm>
              <a:prstGeom prst="rect">
                <a:avLst/>
              </a:prstGeom>
              <a:blipFill>
                <a:blip r:embed="rId4"/>
                <a:stretch>
                  <a:fillRect l="-289" r="-462" b="-6103"/>
                </a:stretch>
              </a:blipFill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068CF5-16B8-F93C-0983-EE1AA6419181}"/>
                  </a:ext>
                </a:extLst>
              </p:cNvPr>
              <p:cNvSpPr txBox="1"/>
              <p:nvPr/>
            </p:nvSpPr>
            <p:spPr>
              <a:xfrm>
                <a:off x="618612" y="4167220"/>
                <a:ext cx="10532338" cy="1409168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                       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𝑁𝑃𝑉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−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𝐼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0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𝑟𝑡</m:t>
                              </m:r>
                            </m:sup>
                          </m:sSup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𝛾</m:t>
                                  </m:r>
                                </m:e>
                                <m:sub>
                                  <m:r>
                                    <a:rPr lang="en-US" sz="2000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e>
                      </m:nary>
                      <m:r>
                        <a:rPr lang="en-US" sz="200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≥0</m:t>
                      </m:r>
                    </m:oMath>
                  </m:oMathPara>
                </a14:m>
                <a:endParaRPr lang="en-US" sz="2000" dirty="0"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𝑒</m:t>
                        </m:r>
                      </m:e>
                      <m:sup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𝑟𝑡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′(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  <a:ea typeface="Cambria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>
                                    <a:latin typeface="Cambria Math" panose="02040503050406030204" pitchFamily="18" charset="0"/>
                                    <a:ea typeface="Cambria" panose="02040503050406030204" pitchFamily="18" charset="0"/>
                                    <a:cs typeface="Times New Roman" panose="020206030504050203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>
                                    <a:latin typeface="Cambria Math" panose="02040503050406030204" pitchFamily="18" charset="0"/>
                                    <a:ea typeface="Cambria" panose="02040503050406030204" pitchFamily="18" charset="0"/>
                                    <a:cs typeface="Times New Roman" panose="020206030504050203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d>
                      </m:num>
                      <m:den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𝑈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′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den>
                    </m:f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expected marginal rate of substitution between current and future consumption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068CF5-16B8-F93C-0983-EE1AA64191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612" y="4167220"/>
                <a:ext cx="10532338" cy="1409168"/>
              </a:xfrm>
              <a:prstGeom prst="rect">
                <a:avLst/>
              </a:prstGeom>
              <a:blipFill>
                <a:blip r:embed="rId5"/>
                <a:stretch>
                  <a:fillRect l="-463" b="-1732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A5CD14D3-350E-9759-ED70-772B28E932EA}"/>
              </a:ext>
            </a:extLst>
          </p:cNvPr>
          <p:cNvSpPr txBox="1"/>
          <p:nvPr/>
        </p:nvSpPr>
        <p:spPr>
          <a:xfrm>
            <a:off x="456619" y="3982554"/>
            <a:ext cx="5301970" cy="369332"/>
          </a:xfrm>
          <a:prstGeom prst="rect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project has a public net present value (NPV):</a:t>
            </a:r>
          </a:p>
        </p:txBody>
      </p:sp>
    </p:spTree>
    <p:extLst>
      <p:ext uri="{BB962C8B-B14F-4D97-AF65-F5344CB8AC3E}">
        <p14:creationId xmlns:p14="http://schemas.microsoft.com/office/powerpoint/2010/main" val="1550914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4" grpId="0" animBg="1"/>
      <p:bldP spid="8" grpId="0" animBg="1"/>
      <p:bldP spid="13" grpId="0" animBg="1"/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52319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Extended Ramsey rule and the risk premiu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5E41557-459B-40F6-3DB8-1C0748548667}"/>
                  </a:ext>
                </a:extLst>
              </p:cNvPr>
              <p:cNvSpPr txBox="1"/>
              <p:nvPr/>
            </p:nvSpPr>
            <p:spPr>
              <a:xfrm>
                <a:off x="623342" y="960267"/>
                <a:ext cx="4972786" cy="104850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/>
              <a:lstStyle>
                <a:defPPr>
                  <a:defRPr lang="en-US"/>
                </a:defPPr>
                <a:lvl1pPr indent="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600"/>
                </a:lvl1pPr>
                <a:lvl2pPr marL="685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endParaRPr lang="en-US" sz="2800" b="1" dirty="0"/>
              </a:p>
              <a:p>
                <a:r>
                  <a:rPr lang="en-US" sz="2800" dirty="0"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                  </a:t>
                </a:r>
                <a14:m>
                  <m:oMath xmlns:m="http://schemas.openxmlformats.org/officeDocument/2006/math"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𝛼𝜇</m:t>
                    </m:r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−</m:t>
                    </m:r>
                    <m:f>
                      <m:fPr>
                        <m:ctrlP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𝜎</m:t>
                        </m:r>
                      </m:e>
                      <m:sup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sz="3600" dirty="0"/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5E41557-459B-40F6-3DB8-1C07485486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342" y="960267"/>
                <a:ext cx="4972786" cy="1048508"/>
              </a:xfrm>
              <a:prstGeom prst="rect">
                <a:avLst/>
              </a:prstGeom>
              <a:blipFill>
                <a:blip r:embed="rId3"/>
                <a:stretch>
                  <a:fillRect b="-116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A3A62B1A-1DD9-FF7A-800F-3ECD4D6FF64E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5</a:t>
            </a:fld>
            <a:endParaRPr lang="en-US" sz="1200" dirty="0"/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4F581ABB-C820-E583-CB89-2042AFAC3896}"/>
              </a:ext>
            </a:extLst>
          </p:cNvPr>
          <p:cNvSpPr/>
          <p:nvPr/>
        </p:nvSpPr>
        <p:spPr>
          <a:xfrm>
            <a:off x="2316481" y="3019280"/>
            <a:ext cx="941832" cy="635794"/>
          </a:xfrm>
          <a:prstGeom prst="borderCallout1">
            <a:avLst>
              <a:gd name="adj1" fmla="val -1386"/>
              <a:gd name="adj2" fmla="val 49919"/>
              <a:gd name="adj3" fmla="val -144938"/>
              <a:gd name="adj4" fmla="val 48075"/>
            </a:avLst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Wealth effect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3BC134D4-9B2F-CAF6-012C-842E4C1F85F7}"/>
              </a:ext>
            </a:extLst>
          </p:cNvPr>
          <p:cNvSpPr/>
          <p:nvPr/>
        </p:nvSpPr>
        <p:spPr>
          <a:xfrm>
            <a:off x="3560064" y="3019280"/>
            <a:ext cx="1578864" cy="635794"/>
          </a:xfrm>
          <a:prstGeom prst="borderCallout1">
            <a:avLst>
              <a:gd name="adj1" fmla="val -1386"/>
              <a:gd name="adj2" fmla="val 49919"/>
              <a:gd name="adj3" fmla="val -130556"/>
              <a:gd name="adj4" fmla="val 27412"/>
            </a:avLst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Precautionary effect</a:t>
            </a: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CFCA30BF-C116-54E3-1D2F-C820E800C5FF}"/>
              </a:ext>
            </a:extLst>
          </p:cNvPr>
          <p:cNvSpPr/>
          <p:nvPr/>
        </p:nvSpPr>
        <p:spPr>
          <a:xfrm>
            <a:off x="5483352" y="3019280"/>
            <a:ext cx="1456944" cy="635794"/>
          </a:xfrm>
          <a:prstGeom prst="borderCallout1">
            <a:avLst>
              <a:gd name="adj1" fmla="val -1386"/>
              <a:gd name="adj2" fmla="val 49919"/>
              <a:gd name="adj3" fmla="val -146376"/>
              <a:gd name="adj4" fmla="val -21542"/>
            </a:avLst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Risk Premi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27B38A1-D41A-C52F-5C2A-9FC199FFFE58}"/>
                  </a:ext>
                </a:extLst>
              </p:cNvPr>
              <p:cNvSpPr txBox="1"/>
              <p:nvPr/>
            </p:nvSpPr>
            <p:spPr>
              <a:xfrm>
                <a:off x="7811773" y="2812923"/>
                <a:ext cx="4290809" cy="104850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/>
              <a:lstStyle>
                <a:defPPr>
                  <a:defRPr lang="en-US"/>
                </a:defPPr>
                <a:lvl1pPr indent="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600"/>
                </a:lvl1pPr>
                <a:lvl2pPr marL="685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𝛼</m:t>
                      </m:r>
                      <m:r>
                        <m:rPr>
                          <m:sty m:val="p"/>
                        </m:rPr>
                        <a:rPr lang="en-US" sz="28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cov</m:t>
                      </m:r>
                      <m:d>
                        <m:dPr>
                          <m:ctrlP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ln</m:t>
                          </m:r>
                          <m:f>
                            <m:fPr>
                              <m:ctrlPr>
                                <a:rPr lang="en-US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𝛾</m:t>
                                      </m:r>
                                    </m:e>
                                    <m:sub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𝛾</m:t>
                                      </m:r>
                                    </m:e>
                                    <m:sub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</m:den>
                          </m:f>
                          <m: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ln</m:t>
                          </m:r>
                          <m:f>
                            <m:fPr>
                              <m:ctrlPr>
                                <a:rPr lang="en-US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</m:den>
                          </m:f>
                        </m:e>
                      </m:d>
                    </m:oMath>
                  </m:oMathPara>
                </a14:m>
                <a:endParaRPr lang="en-US" sz="2800" i="1" dirty="0">
                  <a:latin typeface="Cambria Math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27B38A1-D41A-C52F-5C2A-9FC199FFFE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11773" y="2812923"/>
                <a:ext cx="4290809" cy="104850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3E29FEC-976E-F305-F2C9-6E96C304F8F5}"/>
                  </a:ext>
                </a:extLst>
              </p:cNvPr>
              <p:cNvSpPr txBox="1"/>
              <p:nvPr/>
            </p:nvSpPr>
            <p:spPr>
              <a:xfrm>
                <a:off x="3898761" y="1564930"/>
                <a:ext cx="2000250" cy="523220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kumimoji="0" lang="en-US" sz="2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𝛼𝛽</m:t>
                      </m:r>
                      <m:sSup>
                        <m:sSupPr>
                          <m:ctrlP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𝜎</m:t>
                          </m:r>
                        </m:e>
                        <m:sup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3E29FEC-976E-F305-F2C9-6E96C304F8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761" y="1564930"/>
                <a:ext cx="2000250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A951B0C-6E7D-2D71-AA80-84E601B0B372}"/>
                  </a:ext>
                </a:extLst>
              </p:cNvPr>
              <p:cNvSpPr txBox="1"/>
              <p:nvPr/>
            </p:nvSpPr>
            <p:spPr>
              <a:xfrm>
                <a:off x="1854479" y="1561697"/>
                <a:ext cx="413766" cy="557717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𝑟</m:t>
                          </m:r>
                        </m:e>
                        <m:sub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A951B0C-6E7D-2D71-AA80-84E601B0B3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4479" y="1561697"/>
                <a:ext cx="413766" cy="55771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349655D9-707D-C7CB-2C3B-C0B7D4FDCABC}"/>
                  </a:ext>
                </a:extLst>
              </p:cNvPr>
              <p:cNvSpPr txBox="1"/>
              <p:nvPr/>
            </p:nvSpPr>
            <p:spPr>
              <a:xfrm>
                <a:off x="1849143" y="1571466"/>
                <a:ext cx="413766" cy="539496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𝑟</m:t>
                          </m:r>
                        </m:e>
                        <m:sub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349655D9-707D-C7CB-2C3B-C0B7D4FDC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9143" y="1571466"/>
                <a:ext cx="413766" cy="53949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Arrow: Right 31">
            <a:extLst>
              <a:ext uri="{FF2B5EF4-FFF2-40B4-BE49-F238E27FC236}">
                <a16:creationId xmlns:a16="http://schemas.microsoft.com/office/drawing/2014/main" id="{2EB2390D-975B-9D08-9DCC-BF72CE9B02A4}"/>
              </a:ext>
            </a:extLst>
          </p:cNvPr>
          <p:cNvSpPr/>
          <p:nvPr/>
        </p:nvSpPr>
        <p:spPr>
          <a:xfrm>
            <a:off x="7052138" y="3115321"/>
            <a:ext cx="737344" cy="443711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5523318-60FB-A392-B785-589949CCB405}"/>
              </a:ext>
            </a:extLst>
          </p:cNvPr>
          <p:cNvGrpSpPr/>
          <p:nvPr/>
        </p:nvGrpSpPr>
        <p:grpSpPr>
          <a:xfrm>
            <a:off x="1226846" y="3993021"/>
            <a:ext cx="10111714" cy="1053591"/>
            <a:chOff x="629396" y="3993748"/>
            <a:chExt cx="10933208" cy="1905064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B8BA6D8-9DF9-F30D-6CB0-1B2D89BD51E4}"/>
                </a:ext>
              </a:extLst>
            </p:cNvPr>
            <p:cNvSpPr/>
            <p:nvPr/>
          </p:nvSpPr>
          <p:spPr>
            <a:xfrm>
              <a:off x="851346" y="4234193"/>
              <a:ext cx="10711258" cy="1664619"/>
            </a:xfrm>
            <a:custGeom>
              <a:avLst/>
              <a:gdLst>
                <a:gd name="connsiteX0" fmla="*/ 0 w 5326781"/>
                <a:gd name="connsiteY0" fmla="*/ 0 h 1664619"/>
                <a:gd name="connsiteX1" fmla="*/ 5326781 w 5326781"/>
                <a:gd name="connsiteY1" fmla="*/ 0 h 1664619"/>
                <a:gd name="connsiteX2" fmla="*/ 5326781 w 5326781"/>
                <a:gd name="connsiteY2" fmla="*/ 1664619 h 1664619"/>
                <a:gd name="connsiteX3" fmla="*/ 0 w 5326781"/>
                <a:gd name="connsiteY3" fmla="*/ 1664619 h 1664619"/>
                <a:gd name="connsiteX4" fmla="*/ 0 w 5326781"/>
                <a:gd name="connsiteY4" fmla="*/ 0 h 1664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6781" h="1664619">
                  <a:moveTo>
                    <a:pt x="0" y="0"/>
                  </a:moveTo>
                  <a:lnTo>
                    <a:pt x="5326781" y="0"/>
                  </a:lnTo>
                  <a:lnTo>
                    <a:pt x="5326781" y="1664619"/>
                  </a:lnTo>
                  <a:lnTo>
                    <a:pt x="0" y="1664619"/>
                  </a:lnTo>
                  <a:lnTo>
                    <a:pt x="0" y="0"/>
                  </a:lnTo>
                  <a:close/>
                </a:path>
              </a:pathLst>
            </a:cu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1127502" tIns="83820" rIns="83820" bIns="83820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dirty="0"/>
                <a:t>- Risk-free discount rate </a:t>
              </a:r>
              <a:br>
                <a:rPr lang="en-US" sz="2200" dirty="0"/>
              </a:br>
              <a:r>
                <a:rPr lang="en-US" sz="2200" dirty="0"/>
                <a:t>applied to</a:t>
              </a:r>
              <a:r>
                <a:rPr lang="en-US" sz="2200" kern="1200" dirty="0"/>
                <a:t> cash flows that are not correlated with consumption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160F647-6708-9546-C78C-5FF044E31A2B}"/>
                </a:ext>
              </a:extLst>
            </p:cNvPr>
            <p:cNvSpPr/>
            <p:nvPr/>
          </p:nvSpPr>
          <p:spPr>
            <a:xfrm>
              <a:off x="629396" y="3993748"/>
              <a:ext cx="1165233" cy="1747850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A7F7A1A6-67CD-8AEF-A20B-0AF436203FF3}"/>
              </a:ext>
            </a:extLst>
          </p:cNvPr>
          <p:cNvSpPr/>
          <p:nvPr/>
        </p:nvSpPr>
        <p:spPr>
          <a:xfrm>
            <a:off x="1448797" y="5437601"/>
            <a:ext cx="9906442" cy="920614"/>
          </a:xfrm>
          <a:custGeom>
            <a:avLst/>
            <a:gdLst>
              <a:gd name="connsiteX0" fmla="*/ 0 w 5323418"/>
              <a:gd name="connsiteY0" fmla="*/ 0 h 1663568"/>
              <a:gd name="connsiteX1" fmla="*/ 5323418 w 5323418"/>
              <a:gd name="connsiteY1" fmla="*/ 0 h 1663568"/>
              <a:gd name="connsiteX2" fmla="*/ 5323418 w 5323418"/>
              <a:gd name="connsiteY2" fmla="*/ 1663568 h 1663568"/>
              <a:gd name="connsiteX3" fmla="*/ 0 w 5323418"/>
              <a:gd name="connsiteY3" fmla="*/ 1663568 h 1663568"/>
              <a:gd name="connsiteX4" fmla="*/ 0 w 5323418"/>
              <a:gd name="connsiteY4" fmla="*/ 0 h 1663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3418" h="1663568">
                <a:moveTo>
                  <a:pt x="0" y="0"/>
                </a:moveTo>
                <a:lnTo>
                  <a:pt x="5323418" y="0"/>
                </a:lnTo>
                <a:lnTo>
                  <a:pt x="5323418" y="1663568"/>
                </a:lnTo>
                <a:lnTo>
                  <a:pt x="0" y="1663568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1126790" tIns="83820" rIns="83820" bIns="83820" numCol="1" spcCol="1270" anchor="ctr" anchorCtr="0">
            <a:noAutofit/>
          </a:bodyPr>
          <a:lstStyle/>
          <a:p>
            <a:pPr marL="0" lvl="0" indent="0" algn="l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- Risk-adjusted discount rate </a:t>
            </a:r>
            <a:br>
              <a:rPr lang="en-US" sz="2200" kern="1200" dirty="0"/>
            </a:br>
            <a:r>
              <a:rPr lang="en-US" sz="2200" kern="1200" dirty="0"/>
              <a:t>applied to </a:t>
            </a:r>
            <a:r>
              <a:rPr lang="en-US" sz="2200" dirty="0"/>
              <a:t>o</a:t>
            </a:r>
            <a:r>
              <a:rPr lang="en-US" sz="2200" kern="1200" dirty="0"/>
              <a:t>il-related cash flows</a:t>
            </a:r>
          </a:p>
        </p:txBody>
      </p:sp>
      <p:pic>
        <p:nvPicPr>
          <p:cNvPr id="42" name="Picture 41" descr="An old railway bridge in black and white">
            <a:extLst>
              <a:ext uri="{FF2B5EF4-FFF2-40B4-BE49-F238E27FC236}">
                <a16:creationId xmlns:a16="http://schemas.microsoft.com/office/drawing/2014/main" id="{E57AE55F-ED31-DDEB-DED5-68355048B25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3956288"/>
            <a:ext cx="1516354" cy="1012212"/>
          </a:xfrm>
          <a:prstGeom prst="rect">
            <a:avLst/>
          </a:prstGeom>
        </p:spPr>
      </p:pic>
      <p:pic>
        <p:nvPicPr>
          <p:cNvPr id="44" name="Picture 43" descr="Solar panels on sunny day">
            <a:extLst>
              <a:ext uri="{FF2B5EF4-FFF2-40B4-BE49-F238E27FC236}">
                <a16:creationId xmlns:a16="http://schemas.microsoft.com/office/drawing/2014/main" id="{0F368C2A-B1BC-7777-84E9-1C515FC145F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5261967"/>
            <a:ext cx="1540357" cy="102690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609E5FD-5A28-9639-6846-26AE71A1C0AA}"/>
                  </a:ext>
                </a:extLst>
              </p:cNvPr>
              <p:cNvSpPr txBox="1"/>
              <p:nvPr/>
            </p:nvSpPr>
            <p:spPr>
              <a:xfrm>
                <a:off x="910915" y="890960"/>
                <a:ext cx="10444323" cy="539378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𝑈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1−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𝛼</m:t>
                            </m:r>
                          </m:sup>
                        </m:sSubSup>
                      </m:num>
                      <m:den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1−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𝛼</m:t>
                        </m:r>
                      </m:den>
                    </m:f>
                  </m:oMath>
                </a14:m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, with </a:t>
                </a:r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𝛼</m:t>
                    </m:r>
                  </m:oMath>
                </a14:m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 constant elasticity of marginal utility of consumption or the relative aversion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609E5FD-5A28-9639-6846-26AE71A1C0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915" y="890960"/>
                <a:ext cx="10444323" cy="539378"/>
              </a:xfrm>
              <a:prstGeom prst="rect">
                <a:avLst/>
              </a:prstGeom>
              <a:blipFill>
                <a:blip r:embed="rId10"/>
                <a:stretch>
                  <a:fillRect b="-4494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23644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9" grpId="0" animBg="1"/>
      <p:bldP spid="20" grpId="0" animBg="1"/>
      <p:bldP spid="21" grpId="0" animBg="1"/>
      <p:bldP spid="23" grpId="0" animBg="1"/>
      <p:bldP spid="28" grpId="0"/>
      <p:bldP spid="31" grpId="0" animBg="1"/>
      <p:bldP spid="30" grpId="0" animBg="1"/>
      <p:bldP spid="32" grpId="0" animBg="1"/>
      <p:bldP spid="39" grpId="0" animBg="1"/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8953795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What connection to the economic dependence on oil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6</a:t>
            </a:fld>
            <a:endParaRPr lang="en-US" sz="12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5FF5FAB-7D7E-BFBA-15FB-C5CE9C7ADB4B}"/>
              </a:ext>
            </a:extLst>
          </p:cNvPr>
          <p:cNvSpPr/>
          <p:nvPr/>
        </p:nvSpPr>
        <p:spPr>
          <a:xfrm>
            <a:off x="1647794" y="1843462"/>
            <a:ext cx="9006293" cy="23162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B56F81-3799-4489-B567-7BFFD1B0D9CD}"/>
              </a:ext>
            </a:extLst>
          </p:cNvPr>
          <p:cNvSpPr txBox="1"/>
          <p:nvPr/>
        </p:nvSpPr>
        <p:spPr>
          <a:xfrm>
            <a:off x="1191869" y="897234"/>
            <a:ext cx="9831377" cy="4001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0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Economic dependence on oil affects public discount rates in two opposite ways 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CB098AB1-4194-A6A7-2440-BABD6DE2C6EE}"/>
              </a:ext>
            </a:extLst>
          </p:cNvPr>
          <p:cNvSpPr/>
          <p:nvPr/>
        </p:nvSpPr>
        <p:spPr>
          <a:xfrm>
            <a:off x="964427" y="2555417"/>
            <a:ext cx="842615" cy="206843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1A9C859E-C4DF-25D7-6CBE-1BBFDEDF8FC8}"/>
              </a:ext>
            </a:extLst>
          </p:cNvPr>
          <p:cNvSpPr/>
          <p:nvPr/>
        </p:nvSpPr>
        <p:spPr>
          <a:xfrm flipV="1">
            <a:off x="10487370" y="1379322"/>
            <a:ext cx="842615" cy="206843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34" name="Diagram 33">
            <a:extLst>
              <a:ext uri="{FF2B5EF4-FFF2-40B4-BE49-F238E27FC236}">
                <a16:creationId xmlns:a16="http://schemas.microsoft.com/office/drawing/2014/main" id="{F2E07350-9F10-6FE7-40CE-5272B51AE5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1085395"/>
              </p:ext>
            </p:extLst>
          </p:nvPr>
        </p:nvGraphicFramePr>
        <p:xfrm>
          <a:off x="1615012" y="4634738"/>
          <a:ext cx="9039076" cy="1700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154F1E-4F1F-8DB7-4B5C-2025C401D992}"/>
              </a:ext>
            </a:extLst>
          </p:cNvPr>
          <p:cNvSpPr/>
          <p:nvPr/>
        </p:nvSpPr>
        <p:spPr>
          <a:xfrm>
            <a:off x="6319631" y="2083178"/>
            <a:ext cx="4493704" cy="2193674"/>
          </a:xfrm>
          <a:custGeom>
            <a:avLst/>
            <a:gdLst>
              <a:gd name="connsiteX0" fmla="*/ 0 w 4493704"/>
              <a:gd name="connsiteY0" fmla="*/ 0 h 2193674"/>
              <a:gd name="connsiteX1" fmla="*/ 4493704 w 4493704"/>
              <a:gd name="connsiteY1" fmla="*/ 0 h 2193674"/>
              <a:gd name="connsiteX2" fmla="*/ 4493704 w 4493704"/>
              <a:gd name="connsiteY2" fmla="*/ 2193674 h 2193674"/>
              <a:gd name="connsiteX3" fmla="*/ 0 w 4493704"/>
              <a:gd name="connsiteY3" fmla="*/ 2193674 h 2193674"/>
              <a:gd name="connsiteX4" fmla="*/ 0 w 4493704"/>
              <a:gd name="connsiteY4" fmla="*/ 0 h 219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3704" h="2193674">
                <a:moveTo>
                  <a:pt x="0" y="0"/>
                </a:moveTo>
                <a:lnTo>
                  <a:pt x="4493704" y="0"/>
                </a:lnTo>
                <a:lnTo>
                  <a:pt x="4493704" y="2193674"/>
                </a:lnTo>
                <a:lnTo>
                  <a:pt x="0" y="21936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290" tIns="34290" rIns="34290" bIns="34290" numCol="1" spcCol="1270" anchor="t" anchorCtr="0">
            <a:noAutofit/>
          </a:bodyPr>
          <a:lstStyle/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t increases the correlation between oil-related cash flows and aggregate consumption </a:t>
            </a:r>
          </a:p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is yields a </a:t>
            </a:r>
            <a:r>
              <a:rPr lang="en-US" sz="1800" b="1" kern="1200" dirty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higher risk-premium</a:t>
            </a: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and a lower present va</a:t>
            </a:r>
            <a:r>
              <a:rPr lang="en-US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ue</a:t>
            </a: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of future cash flows </a:t>
            </a:r>
            <a:endParaRPr lang="en-US" sz="1800" kern="1200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9E37B64-6F0A-F45A-4C6C-559B93B4F2C6}"/>
              </a:ext>
            </a:extLst>
          </p:cNvPr>
          <p:cNvSpPr/>
          <p:nvPr/>
        </p:nvSpPr>
        <p:spPr>
          <a:xfrm>
            <a:off x="1693084" y="2004453"/>
            <a:ext cx="4298316" cy="2193674"/>
          </a:xfrm>
          <a:custGeom>
            <a:avLst/>
            <a:gdLst>
              <a:gd name="connsiteX0" fmla="*/ 0 w 4298316"/>
              <a:gd name="connsiteY0" fmla="*/ 0 h 2193674"/>
              <a:gd name="connsiteX1" fmla="*/ 4298316 w 4298316"/>
              <a:gd name="connsiteY1" fmla="*/ 0 h 2193674"/>
              <a:gd name="connsiteX2" fmla="*/ 4298316 w 4298316"/>
              <a:gd name="connsiteY2" fmla="*/ 2193674 h 2193674"/>
              <a:gd name="connsiteX3" fmla="*/ 0 w 4298316"/>
              <a:gd name="connsiteY3" fmla="*/ 2193674 h 2193674"/>
              <a:gd name="connsiteX4" fmla="*/ 0 w 4298316"/>
              <a:gd name="connsiteY4" fmla="*/ 0 h 219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8316" h="2193674">
                <a:moveTo>
                  <a:pt x="0" y="0"/>
                </a:moveTo>
                <a:lnTo>
                  <a:pt x="4298316" y="0"/>
                </a:lnTo>
                <a:lnTo>
                  <a:pt x="4298316" y="2193674"/>
                </a:lnTo>
                <a:lnTo>
                  <a:pt x="0" y="21936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290" tIns="34290" rIns="34290" bIns="34290" numCol="1" spcCol="1270" anchor="t" anchorCtr="0">
            <a:noAutofit/>
          </a:bodyPr>
          <a:lstStyle/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il price fluctuations make the economy more volatile </a:t>
            </a:r>
          </a:p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is leads to higher aggregate uncertainty for the whole economy, </a:t>
            </a:r>
            <a:r>
              <a:rPr lang="en-US" sz="1800" b="1" kern="1200" dirty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owering the risk-free discount rate</a:t>
            </a: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and enhancing the present value of future cash flows (for precautionary reasons) </a:t>
            </a:r>
            <a:endParaRPr lang="en-US" sz="1800" kern="1200" dirty="0"/>
          </a:p>
        </p:txBody>
      </p:sp>
      <p:sp>
        <p:nvSpPr>
          <p:cNvPr id="4" name="Straight Connector 3">
            <a:extLst>
              <a:ext uri="{FF2B5EF4-FFF2-40B4-BE49-F238E27FC236}">
                <a16:creationId xmlns:a16="http://schemas.microsoft.com/office/drawing/2014/main" id="{EAD30AC1-D295-1B3A-2251-AE69BECA01E9}"/>
              </a:ext>
            </a:extLst>
          </p:cNvPr>
          <p:cNvSpPr/>
          <p:nvPr/>
        </p:nvSpPr>
        <p:spPr>
          <a:xfrm>
            <a:off x="6133836" y="2004453"/>
            <a:ext cx="570" cy="209517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672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2" grpId="0" animBg="1"/>
      <p:bldP spid="24" grpId="0" animBg="1"/>
      <p:bldP spid="32" grpId="0" animBg="1"/>
      <p:bldGraphic spid="34" grpId="0">
        <p:bldAsOne/>
      </p:bldGraphic>
      <p:bldP spid="2" grpId="0"/>
      <p:bldP spid="3" grpId="0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diagram, plot, line&#10;&#10;Description automatically generated">
            <a:extLst>
              <a:ext uri="{FF2B5EF4-FFF2-40B4-BE49-F238E27FC236}">
                <a16:creationId xmlns:a16="http://schemas.microsoft.com/office/drawing/2014/main" id="{AEE70977-5991-F9A4-8400-3B020406FF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4" y="798534"/>
            <a:ext cx="6623109" cy="481802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136444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Population and real consumption per capita: Focus on GCC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4C9CC2E-7B95-C53B-CF0A-3BA838F943A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7</a:t>
            </a:fld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8D41A7-5641-9557-108F-8F3505EB4F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549" y="1002915"/>
            <a:ext cx="5356842" cy="389849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5B73DE7-7D97-52DA-560D-0DDE19BB7EBC}"/>
              </a:ext>
            </a:extLst>
          </p:cNvPr>
          <p:cNvSpPr/>
          <p:nvPr/>
        </p:nvSpPr>
        <p:spPr>
          <a:xfrm>
            <a:off x="6944629" y="5157945"/>
            <a:ext cx="4971872" cy="60358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Mitigating a potential bias: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Growth leads to more expatriate worker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1DA0E0-7083-DA10-CDF3-51046BE47851}"/>
              </a:ext>
            </a:extLst>
          </p:cNvPr>
          <p:cNvSpPr/>
          <p:nvPr/>
        </p:nvSpPr>
        <p:spPr>
          <a:xfrm>
            <a:off x="140394" y="5775183"/>
            <a:ext cx="6430357" cy="54868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High volatility in GCC countries: Avg. std. dev. of </a:t>
            </a:r>
            <a:r>
              <a:rPr lang="en-US" b="1" dirty="0">
                <a:solidFill>
                  <a:schemeClr val="bg1"/>
                </a:solidFill>
              </a:rPr>
              <a:t>0.083</a:t>
            </a:r>
            <a:r>
              <a:rPr lang="en-US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ix times higher than OECD countries and the USA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AE00A50-757E-CCDC-E53B-53774781347B}"/>
              </a:ext>
            </a:extLst>
          </p:cNvPr>
          <p:cNvCxnSpPr/>
          <p:nvPr/>
        </p:nvCxnSpPr>
        <p:spPr>
          <a:xfrm>
            <a:off x="6622067" y="667429"/>
            <a:ext cx="71611" cy="5342862"/>
          </a:xfrm>
          <a:prstGeom prst="line">
            <a:avLst/>
          </a:prstGeom>
          <a:ln w="47625" cap="flat">
            <a:solidFill>
              <a:schemeClr val="accent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099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610919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Country-specific and pooled real public discount rates (in percent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7E219F-0BFC-421B-5072-FF8FB190F36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8</a:t>
            </a:fld>
            <a:endParaRPr lang="en-US" sz="12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97BAFC0-6933-08DE-A07E-408B5A3222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965830"/>
              </p:ext>
            </p:extLst>
          </p:nvPr>
        </p:nvGraphicFramePr>
        <p:xfrm>
          <a:off x="276537" y="941750"/>
          <a:ext cx="6014535" cy="5190254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199481">
                  <a:extLst>
                    <a:ext uri="{9D8B030D-6E8A-4147-A177-3AD203B41FA5}">
                      <a16:colId xmlns:a16="http://schemas.microsoft.com/office/drawing/2014/main" val="480740564"/>
                    </a:ext>
                  </a:extLst>
                </a:gridCol>
                <a:gridCol w="2461880">
                  <a:extLst>
                    <a:ext uri="{9D8B030D-6E8A-4147-A177-3AD203B41FA5}">
                      <a16:colId xmlns:a16="http://schemas.microsoft.com/office/drawing/2014/main" val="1557661895"/>
                    </a:ext>
                  </a:extLst>
                </a:gridCol>
                <a:gridCol w="2353174">
                  <a:extLst>
                    <a:ext uri="{9D8B030D-6E8A-4147-A177-3AD203B41FA5}">
                      <a16:colId xmlns:a16="http://schemas.microsoft.com/office/drawing/2014/main" val="3531330551"/>
                    </a:ext>
                  </a:extLst>
                </a:gridCol>
              </a:tblGrid>
              <a:tr h="29020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Country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free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adjusted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3955433509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Algeria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9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4.4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4271507827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Angola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0.5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1.83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94034326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Bahrain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8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5.2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83417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Brunei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6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0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239268466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Cameroo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3.19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3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2894683518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Chad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0.5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0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260757951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Gabo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0.23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0.3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88074458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Iraq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3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8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715477451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Ira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2.37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1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568626559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Kazakhsta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9.88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11.2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326345927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Kuwait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0.43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0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19212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Oma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7.06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8.3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095036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Qatar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13.4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17.3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72718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Rep. Congo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-1.04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0.26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427289310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Russia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7.35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9.64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661327821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Saudi Arabia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7.1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8.7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8118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Sudan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-0.97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1.06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072377568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AE</a:t>
                      </a: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7.0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3.5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761027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3525AAD-23E5-25E3-DDF2-27C774FC4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441372"/>
              </p:ext>
            </p:extLst>
          </p:nvPr>
        </p:nvGraphicFramePr>
        <p:xfrm>
          <a:off x="7151184" y="941750"/>
          <a:ext cx="4083077" cy="1423213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019838">
                  <a:extLst>
                    <a:ext uri="{9D8B030D-6E8A-4147-A177-3AD203B41FA5}">
                      <a16:colId xmlns:a16="http://schemas.microsoft.com/office/drawing/2014/main" val="4213336105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1070823934"/>
                    </a:ext>
                  </a:extLst>
                </a:gridCol>
                <a:gridCol w="1572767">
                  <a:extLst>
                    <a:ext uri="{9D8B030D-6E8A-4147-A177-3AD203B41FA5}">
                      <a16:colId xmlns:a16="http://schemas.microsoft.com/office/drawing/2014/main" val="3444973051"/>
                    </a:ext>
                  </a:extLst>
                </a:gridCol>
              </a:tblGrid>
              <a:tr h="76332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Pooled data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free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adjusted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374253430"/>
                  </a:ext>
                </a:extLst>
              </a:tr>
              <a:tr h="3269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All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3.1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5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56461766"/>
                  </a:ext>
                </a:extLst>
              </a:tr>
              <a:tr h="3269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GCC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.4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.2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11921837"/>
                  </a:ext>
                </a:extLst>
              </a:tr>
            </a:tbl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CEE3CF0D-AE4F-F546-C286-502AB679A8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12013"/>
              </p:ext>
            </p:extLst>
          </p:nvPr>
        </p:nvGraphicFramePr>
        <p:xfrm>
          <a:off x="6325820" y="2686632"/>
          <a:ext cx="5776761" cy="3540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8896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976298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Discount rate and export diversific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7E219F-0BFC-421B-5072-FF8FB190F36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9</a:t>
            </a:fld>
            <a:endParaRPr lang="en-US" sz="1200" dirty="0"/>
          </a:p>
        </p:txBody>
      </p:sp>
      <p:pic>
        <p:nvPicPr>
          <p:cNvPr id="2" name="Picture 1" descr="A graph of export diversification index&#10;&#10;Description automatically generated with medium confidence">
            <a:extLst>
              <a:ext uri="{FF2B5EF4-FFF2-40B4-BE49-F238E27FC236}">
                <a16:creationId xmlns:a16="http://schemas.microsoft.com/office/drawing/2014/main" id="{BD440E88-B5F2-DC60-FA45-20FA5BADB6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737" y="984094"/>
            <a:ext cx="6514407" cy="473837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10E1C9A-FA6E-004B-6008-BD3E10B8F605}"/>
              </a:ext>
            </a:extLst>
          </p:cNvPr>
          <p:cNvSpPr txBox="1"/>
          <p:nvPr/>
        </p:nvSpPr>
        <p:spPr>
          <a:xfrm>
            <a:off x="7052812" y="2252096"/>
            <a:ext cx="4790245" cy="178510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R="0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</a:t>
            </a: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ck of export diversification </a:t>
            </a:r>
          </a:p>
          <a:p>
            <a:pPr marL="342900" marR="0" indent="-34290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reases vulnerability to oil price fluctuations </a:t>
            </a:r>
          </a:p>
          <a:p>
            <a:pPr marL="342900" marR="0" indent="-34290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ends to result in </a:t>
            </a:r>
            <a:r>
              <a:rPr lang="en-US" sz="200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 lower </a:t>
            </a: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isk-adjusted discount rate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543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4IYDLSNCJ9WktW7ZdX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CzETsZQISC1z5UIOZS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6B39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6B39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ECA36BBF-46F1-437D-BC7D-FF27FBA65BB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396234"/>
      </a:lt1>
      <a:dk2>
        <a:srgbClr val="000000"/>
      </a:dk2>
      <a:lt2>
        <a:srgbClr val="000000"/>
      </a:lt2>
      <a:accent1>
        <a:srgbClr val="FFFFFF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396234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40A4B5F1-1EBA-42FC-BE01-03080863F442}"/>
    </a:ext>
  </a:extLst>
</a:theme>
</file>

<file path=ppt/theme/theme3.xml><?xml version="1.0" encoding="utf-8"?>
<a:theme xmlns:a="http://schemas.openxmlformats.org/drawingml/2006/main" name="1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4.xml><?xml version="1.0" encoding="utf-8"?>
<a:theme xmlns:a="http://schemas.openxmlformats.org/drawingml/2006/main" name="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5.xml><?xml version="1.0" encoding="utf-8"?>
<a:theme xmlns:a="http://schemas.openxmlformats.org/drawingml/2006/main" name="2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6.xml><?xml version="1.0" encoding="utf-8"?>
<a:theme xmlns:a="http://schemas.openxmlformats.org/drawingml/2006/main" name="2_KPMG_Standard_4x3_0923_2015">
  <a:themeElements>
    <a:clrScheme name="Custom 3">
      <a:dk1>
        <a:srgbClr val="000000"/>
      </a:dk1>
      <a:lt1>
        <a:srgbClr val="FFFFFF"/>
      </a:lt1>
      <a:dk2>
        <a:srgbClr val="00338D"/>
      </a:dk2>
      <a:lt2>
        <a:srgbClr val="0091DA"/>
      </a:lt2>
      <a:accent1>
        <a:srgbClr val="005EB8"/>
      </a:accent1>
      <a:accent2>
        <a:srgbClr val="0091DA"/>
      </a:accent2>
      <a:accent3>
        <a:srgbClr val="483698"/>
      </a:accent3>
      <a:accent4>
        <a:srgbClr val="470A68"/>
      </a:accent4>
      <a:accent5>
        <a:srgbClr val="6D2077"/>
      </a:accent5>
      <a:accent6>
        <a:srgbClr val="00A3A1"/>
      </a:accent6>
      <a:hlink>
        <a:srgbClr val="C6007E"/>
      </a:hlink>
      <a:folHlink>
        <a:srgbClr val="BC204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MG Report Standard Template.potx" id="{5E67CB3A-314B-4B72-970F-DCD15CEC7CF9}" vid="{AB8D2AB0-D185-4DD5-8E25-A0B3F8280F33}"/>
    </a:ext>
  </a:extLst>
</a:theme>
</file>

<file path=ppt/theme/theme7.xml><?xml version="1.0" encoding="utf-8"?>
<a:theme xmlns:a="http://schemas.openxmlformats.org/drawingml/2006/main" name="3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8.xml><?xml version="1.0" encoding="utf-8"?>
<a:theme xmlns:a="http://schemas.openxmlformats.org/drawingml/2006/main" name="4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9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6B39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6B39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ECA36BBF-46F1-437D-BC7D-FF27FBA65BB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24b247d-3a02-438d-9e4e-ead77eefad9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F9FB07C5019B419FBFB43CC3A82D21" ma:contentTypeVersion="10" ma:contentTypeDescription="Create a new document." ma:contentTypeScope="" ma:versionID="65ebee76efdcc75e32e7cebd596a5c38">
  <xsd:schema xmlns:xsd="http://www.w3.org/2001/XMLSchema" xmlns:xs="http://www.w3.org/2001/XMLSchema" xmlns:p="http://schemas.microsoft.com/office/2006/metadata/properties" xmlns:ns3="a24b247d-3a02-438d-9e4e-ead77eefad96" xmlns:ns4="20d4d64b-1bfb-4054-84b6-83f5c9f597d8" targetNamespace="http://schemas.microsoft.com/office/2006/metadata/properties" ma:root="true" ma:fieldsID="34e7efb9ee4674ad42b79c81ed428266" ns3:_="" ns4:_="">
    <xsd:import namespace="a24b247d-3a02-438d-9e4e-ead77eefad96"/>
    <xsd:import namespace="20d4d64b-1bfb-4054-84b6-83f5c9f597d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4b247d-3a02-438d-9e4e-ead77eefad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d4d64b-1bfb-4054-84b6-83f5c9f597d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A91B87-D727-41E1-9D49-CF59C84310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D1815A-44A5-4F6B-B62D-426CE46FE1E1}">
  <ds:schemaRefs>
    <ds:schemaRef ds:uri="http://schemas.microsoft.com/office/2006/metadata/properties"/>
    <ds:schemaRef ds:uri="http://purl.org/dc/terms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20d4d64b-1bfb-4054-84b6-83f5c9f597d8"/>
    <ds:schemaRef ds:uri="a24b247d-3a02-438d-9e4e-ead77eefad96"/>
  </ds:schemaRefs>
</ds:datastoreItem>
</file>

<file path=customXml/itemProps3.xml><?xml version="1.0" encoding="utf-8"?>
<ds:datastoreItem xmlns:ds="http://schemas.openxmlformats.org/officeDocument/2006/customXml" ds:itemID="{503D8353-E7D7-4B5C-838B-D2A84018EF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4b247d-3a02-438d-9e4e-ead77eefad96"/>
    <ds:schemaRef ds:uri="20d4d64b-1bfb-4054-84b6-83f5c9f597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aduate Development Program - Nouf (1)</Template>
  <TotalTime>24740</TotalTime>
  <Words>841</Words>
  <Application>Microsoft Office PowerPoint</Application>
  <PresentationFormat>Widescreen</PresentationFormat>
  <Paragraphs>18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6" baseType="lpstr">
      <vt:lpstr>Arial</vt:lpstr>
      <vt:lpstr>Arial Nova Light</vt:lpstr>
      <vt:lpstr>Calibri</vt:lpstr>
      <vt:lpstr>Cambria</vt:lpstr>
      <vt:lpstr>Cambria Math</vt:lpstr>
      <vt:lpstr>Georgia</vt:lpstr>
      <vt:lpstr>HelveticaNeueLT Arabic 55 Roman</vt:lpstr>
      <vt:lpstr>KPMG Extralight</vt:lpstr>
      <vt:lpstr>Segoe UI</vt:lpstr>
      <vt:lpstr>Teshrin AR+LT Bold</vt:lpstr>
      <vt:lpstr>Times New Roman</vt:lpstr>
      <vt:lpstr>Univers for KPMG</vt:lpstr>
      <vt:lpstr>Univers for KPMG Light</vt:lpstr>
      <vt:lpstr>Wingdings</vt:lpstr>
      <vt:lpstr>White</vt:lpstr>
      <vt:lpstr>Contrast</vt:lpstr>
      <vt:lpstr>1_KAPRC_CF 16x9</vt:lpstr>
      <vt:lpstr>KAPRC_CF 16x9</vt:lpstr>
      <vt:lpstr>2_KAPRC_CF 16x9</vt:lpstr>
      <vt:lpstr>2_KPMG_Standard_4x3_0923_2015</vt:lpstr>
      <vt:lpstr>3_KAPRC_CF 16x9</vt:lpstr>
      <vt:lpstr>4_KAPRC_CF 16x9</vt:lpstr>
      <vt:lpstr>1_White</vt:lpstr>
      <vt:lpstr>think-cell Slide</vt:lpstr>
      <vt:lpstr>Energy Transition in Oil-Dependent Economies: Public discount rates for  investment project evaluation  Fatih Karanfil and Axel Pierru</vt:lpstr>
      <vt:lpstr>Background</vt:lpstr>
      <vt:lpstr>Motivation</vt:lpstr>
      <vt:lpstr>Approach: Valuing cash flows from a public policy perspective</vt:lpstr>
      <vt:lpstr>Extended Ramsey rule and the risk premium</vt:lpstr>
      <vt:lpstr>What connection to the economic dependence on oil?</vt:lpstr>
      <vt:lpstr>Population and real consumption per capita: Focus on GCC</vt:lpstr>
      <vt:lpstr>Country-specific and pooled real public discount rates (in percent)</vt:lpstr>
      <vt:lpstr>Discount rate and export diversification</vt:lpstr>
      <vt:lpstr>How our results materially impact the public evaluation of future cash flows</vt:lpstr>
      <vt:lpstr>Why it matter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deFactory</dc:creator>
  <cp:lastModifiedBy>Karanfil, Fatih</cp:lastModifiedBy>
  <cp:revision>64</cp:revision>
  <dcterms:created xsi:type="dcterms:W3CDTF">2023-01-25T18:15:16Z</dcterms:created>
  <dcterms:modified xsi:type="dcterms:W3CDTF">2023-10-30T04:4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1-23T00:00:00Z</vt:filetime>
  </property>
  <property fmtid="{D5CDD505-2E9C-101B-9397-08002B2CF9AE}" pid="3" name="Creator">
    <vt:lpwstr>Microsoft® PowerPoint® 2019</vt:lpwstr>
  </property>
  <property fmtid="{D5CDD505-2E9C-101B-9397-08002B2CF9AE}" pid="4" name="LastSaved">
    <vt:filetime>2023-01-25T00:00:00Z</vt:filetime>
  </property>
  <property fmtid="{D5CDD505-2E9C-101B-9397-08002B2CF9AE}" pid="5" name="ContentTypeId">
    <vt:lpwstr>0x0101009FF9FB07C5019B419FBFB43CC3A82D21</vt:lpwstr>
  </property>
  <property fmtid="{D5CDD505-2E9C-101B-9397-08002B2CF9AE}" pid="6" name="MSIP_Label_3e8d34d1-3830-4ae1-841c-ed04f7a732ea_Enabled">
    <vt:lpwstr>true</vt:lpwstr>
  </property>
  <property fmtid="{D5CDD505-2E9C-101B-9397-08002B2CF9AE}" pid="7" name="MSIP_Label_3e8d34d1-3830-4ae1-841c-ed04f7a732ea_SetDate">
    <vt:lpwstr>2023-08-30T07:03:15Z</vt:lpwstr>
  </property>
  <property fmtid="{D5CDD505-2E9C-101B-9397-08002B2CF9AE}" pid="8" name="MSIP_Label_3e8d34d1-3830-4ae1-841c-ed04f7a732ea_Method">
    <vt:lpwstr>Privileged</vt:lpwstr>
  </property>
  <property fmtid="{D5CDD505-2E9C-101B-9397-08002B2CF9AE}" pid="9" name="MSIP_Label_3e8d34d1-3830-4ae1-841c-ed04f7a732ea_Name">
    <vt:lpwstr>Public</vt:lpwstr>
  </property>
  <property fmtid="{D5CDD505-2E9C-101B-9397-08002B2CF9AE}" pid="10" name="MSIP_Label_3e8d34d1-3830-4ae1-841c-ed04f7a732ea_SiteId">
    <vt:lpwstr>9d1eab37-c590-430b-ba29-48eeaea0eee2</vt:lpwstr>
  </property>
  <property fmtid="{D5CDD505-2E9C-101B-9397-08002B2CF9AE}" pid="11" name="MSIP_Label_3e8d34d1-3830-4ae1-841c-ed04f7a732ea_ActionId">
    <vt:lpwstr>b486ddba-2743-40b3-991d-61b2b41f0cf5</vt:lpwstr>
  </property>
  <property fmtid="{D5CDD505-2E9C-101B-9397-08002B2CF9AE}" pid="12" name="MSIP_Label_3e8d34d1-3830-4ae1-841c-ed04f7a732ea_ContentBits">
    <vt:lpwstr>1</vt:lpwstr>
  </property>
  <property fmtid="{D5CDD505-2E9C-101B-9397-08002B2CF9AE}" pid="13" name="ClassificationContentMarkingHeaderLocations">
    <vt:lpwstr>White:7\Contrast:6\1_KAPRC_CF 16x9:5\KAPRC_CF 16x9:5\2_KAPRC_CF 16x9:5\2_KPMG_Standard_4x3_0923_2015:4\3_KAPRC_CF 16x9:4\4_KAPRC_CF 16x9:4\1_White:7</vt:lpwstr>
  </property>
  <property fmtid="{D5CDD505-2E9C-101B-9397-08002B2CF9AE}" pid="14" name="ClassificationContentMarkingHeaderText">
    <vt:lpwstr>Classified as Public and Information can be shared with anyone needful of the Information.</vt:lpwstr>
  </property>
</Properties>
</file>